
<file path=[Content_Types].xml><?xml version="1.0" encoding="utf-8"?>
<Types xmlns="http://schemas.openxmlformats.org/package/2006/content-types">
  <Default Extension="jpeg" ContentType="image/jpeg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sldIdLst>
    <p:sldId id="374" r:id="rId3"/>
    <p:sldId id="565" r:id="rId5"/>
    <p:sldId id="383" r:id="rId6"/>
    <p:sldId id="586" r:id="rId7"/>
    <p:sldId id="526" r:id="rId8"/>
    <p:sldId id="543" r:id="rId9"/>
    <p:sldId id="611" r:id="rId10"/>
    <p:sldId id="544" r:id="rId11"/>
    <p:sldId id="546" r:id="rId12"/>
    <p:sldId id="527" r:id="rId13"/>
    <p:sldId id="614" r:id="rId14"/>
    <p:sldId id="612" r:id="rId15"/>
    <p:sldId id="613" r:id="rId16"/>
    <p:sldId id="615" r:id="rId17"/>
    <p:sldId id="545" r:id="rId18"/>
    <p:sldId id="634" r:id="rId19"/>
    <p:sldId id="556" r:id="rId20"/>
    <p:sldId id="587" r:id="rId21"/>
    <p:sldId id="557" r:id="rId22"/>
    <p:sldId id="635" r:id="rId23"/>
    <p:sldId id="636" r:id="rId24"/>
    <p:sldId id="637" r:id="rId25"/>
    <p:sldId id="418" r:id="rId26"/>
    <p:sldId id="384" r:id="rId27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76861"/>
    <a:srgbClr val="E5AB74"/>
    <a:srgbClr val="5BA78C"/>
    <a:srgbClr val="3F5361"/>
    <a:srgbClr val="F9F6E7"/>
    <a:srgbClr val="E9737E"/>
    <a:srgbClr val="E86E7A"/>
    <a:srgbClr val="DEDDC9"/>
    <a:srgbClr val="FCE1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00" autoAdjust="0"/>
    <p:restoredTop sz="94660"/>
  </p:normalViewPr>
  <p:slideViewPr>
    <p:cSldViewPr snapToGrid="0">
      <p:cViewPr varScale="1">
        <p:scale>
          <a:sx n="62" d="100"/>
          <a:sy n="62" d="100"/>
        </p:scale>
        <p:origin x="162" y="66"/>
      </p:cViewPr>
      <p:guideLst>
        <p:guide orient="horz" pos="2150"/>
        <p:guide pos="390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0" Type="http://schemas.openxmlformats.org/officeDocument/2006/relationships/tableStyles" Target="tableStyles.xml"/><Relationship Id="rId3" Type="http://schemas.openxmlformats.org/officeDocument/2006/relationships/slide" Target="slides/slide1.xml"/><Relationship Id="rId29" Type="http://schemas.openxmlformats.org/officeDocument/2006/relationships/viewProps" Target="viewProps.xml"/><Relationship Id="rId28" Type="http://schemas.openxmlformats.org/officeDocument/2006/relationships/presProps" Target="presProps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6BC222-821E-4E63-8AA5-B71CF0981595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0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2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3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4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标题幻灯片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1694" y="2095501"/>
            <a:ext cx="5865255" cy="1786520"/>
          </a:xfrm>
        </p:spPr>
        <p:txBody>
          <a:bodyPr anchor="b">
            <a:noAutofit/>
          </a:bodyPr>
          <a:lstStyle>
            <a:lvl1pPr algn="ctr">
              <a:lnSpc>
                <a:spcPct val="110000"/>
              </a:lnSpc>
              <a:defRPr sz="48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882020"/>
            <a:ext cx="5865254" cy="441321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zh-CN" altLang="en-US" dirty="0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41221" r="8469"/>
          <a:stretch>
            <a:fillRect/>
          </a:stretch>
        </p:blipFill>
        <p:spPr>
          <a:xfrm>
            <a:off x="5920152" y="0"/>
            <a:ext cx="6271848" cy="685800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7F2DA">
              <a:alpha val="4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21" t="53545" r="22272"/>
          <a:stretch>
            <a:fillRect/>
          </a:stretch>
        </p:blipFill>
        <p:spPr>
          <a:xfrm>
            <a:off x="9140134" y="5748469"/>
            <a:ext cx="2962415" cy="1257304"/>
          </a:xfrm>
          <a:prstGeom prst="rect">
            <a:avLst/>
          </a:prstGeom>
        </p:spPr>
      </p:pic>
      <p:sp>
        <p:nvSpPr>
          <p:cNvPr id="4" name="标题 1"/>
          <p:cNvSpPr txBox="1"/>
          <p:nvPr userDrawn="1"/>
        </p:nvSpPr>
        <p:spPr>
          <a:xfrm>
            <a:off x="9627990" y="0"/>
            <a:ext cx="2634114" cy="35613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1600" b="1" i="1" dirty="0"/>
              <a:t>教学监督热线 </a:t>
            </a:r>
            <a:r>
              <a:rPr lang="en-US" altLang="zh-CN" sz="1600" b="1" i="1" dirty="0"/>
              <a:t>400-1567-315</a:t>
            </a:r>
            <a:endParaRPr lang="zh-CN" altLang="en-US" sz="1600" b="1" i="1" dirty="0"/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30336"/>
            <a:ext cx="1951463" cy="727664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>
  <p:cSld name="节标题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1" y="2675744"/>
            <a:ext cx="7162800" cy="1502910"/>
          </a:xfrm>
        </p:spPr>
        <p:txBody>
          <a:bodyPr anchor="b" anchorCtr="0">
            <a:norm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1" y="4283999"/>
            <a:ext cx="7162800" cy="45243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31501" r="7311" b="49954"/>
          <a:stretch>
            <a:fillRect/>
          </a:stretch>
        </p:blipFill>
        <p:spPr>
          <a:xfrm>
            <a:off x="4965527" y="0"/>
            <a:ext cx="7226473" cy="30670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95400" y="365125"/>
            <a:ext cx="10059988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58591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40982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58591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40982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14350" y="342616"/>
            <a:ext cx="11239500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3" Type="http://schemas.openxmlformats.org/officeDocument/2006/relationships/theme" Target="../theme/theme1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32034"/>
            <a:ext cx="105156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456266"/>
            <a:ext cx="10515600" cy="46997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ransition spd="slow" advClick="0" advTm="3000">
    <p:randomBar dir="vert"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4" Type="http://schemas.openxmlformats.org/officeDocument/2006/relationships/tags" Target="../tags/tag39.xml"/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tags" Target="../tags/tag3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47.xml"/><Relationship Id="rId5" Type="http://schemas.openxmlformats.org/officeDocument/2006/relationships/tags" Target="../tags/tag46.xml"/><Relationship Id="rId4" Type="http://schemas.openxmlformats.org/officeDocument/2006/relationships/tags" Target="../tags/tag45.xml"/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/Relationships>
</file>

<file path=ppt/slides/_rels/slide12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2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53.xml"/><Relationship Id="rId6" Type="http://schemas.openxmlformats.org/officeDocument/2006/relationships/image" Target="../media/image15.png"/><Relationship Id="rId5" Type="http://schemas.openxmlformats.org/officeDocument/2006/relationships/tags" Target="../tags/tag52.xml"/><Relationship Id="rId4" Type="http://schemas.openxmlformats.org/officeDocument/2006/relationships/tags" Target="../tags/tag51.xml"/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/Relationships>
</file>

<file path=ppt/slides/_rels/slide13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3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59.xml"/><Relationship Id="rId6" Type="http://schemas.openxmlformats.org/officeDocument/2006/relationships/image" Target="../media/image16.png"/><Relationship Id="rId5" Type="http://schemas.openxmlformats.org/officeDocument/2006/relationships/tags" Target="../tags/tag58.xml"/><Relationship Id="rId4" Type="http://schemas.openxmlformats.org/officeDocument/2006/relationships/tags" Target="../tags/tag57.xml"/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tags" Target="../tags/tag54.xml"/></Relationships>
</file>

<file path=ppt/slides/_rels/slide14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4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65.xml"/><Relationship Id="rId6" Type="http://schemas.openxmlformats.org/officeDocument/2006/relationships/image" Target="../media/image17.png"/><Relationship Id="rId5" Type="http://schemas.openxmlformats.org/officeDocument/2006/relationships/tags" Target="../tags/tag64.xml"/><Relationship Id="rId4" Type="http://schemas.openxmlformats.org/officeDocument/2006/relationships/tags" Target="../tags/tag63.xml"/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tags" Target="../tags/tag60.xml"/></Relationships>
</file>

<file path=ppt/slides/_rels/slide15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5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71.xml"/><Relationship Id="rId6" Type="http://schemas.openxmlformats.org/officeDocument/2006/relationships/image" Target="../media/image18.png"/><Relationship Id="rId5" Type="http://schemas.openxmlformats.org/officeDocument/2006/relationships/tags" Target="../tags/tag70.xml"/><Relationship Id="rId4" Type="http://schemas.openxmlformats.org/officeDocument/2006/relationships/tags" Target="../tags/tag69.xml"/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tags" Target="../tags/tag66.xml"/></Relationships>
</file>

<file path=ppt/slides/_rels/slide16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6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77.xml"/><Relationship Id="rId6" Type="http://schemas.openxmlformats.org/officeDocument/2006/relationships/image" Target="../media/image19.png"/><Relationship Id="rId5" Type="http://schemas.openxmlformats.org/officeDocument/2006/relationships/tags" Target="../tags/tag76.xml"/><Relationship Id="rId4" Type="http://schemas.openxmlformats.org/officeDocument/2006/relationships/tags" Target="../tags/tag75.xml"/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tags" Target="../tags/tag72.xml"/></Relationships>
</file>

<file path=ppt/slides/_rels/slide17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7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83.xml"/><Relationship Id="rId6" Type="http://schemas.openxmlformats.org/officeDocument/2006/relationships/image" Target="../media/image20.png"/><Relationship Id="rId5" Type="http://schemas.openxmlformats.org/officeDocument/2006/relationships/tags" Target="../tags/tag82.xml"/><Relationship Id="rId4" Type="http://schemas.openxmlformats.org/officeDocument/2006/relationships/tags" Target="../tags/tag81.xml"/><Relationship Id="rId3" Type="http://schemas.openxmlformats.org/officeDocument/2006/relationships/tags" Target="../tags/tag80.xml"/><Relationship Id="rId2" Type="http://schemas.openxmlformats.org/officeDocument/2006/relationships/tags" Target="../tags/tag79.xml"/><Relationship Id="rId1" Type="http://schemas.openxmlformats.org/officeDocument/2006/relationships/tags" Target="../tags/tag7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4.png"/></Relationships>
</file>

<file path=ppt/slides/_rels/slide19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ags" Target="../tags/tag89.xml"/><Relationship Id="rId7" Type="http://schemas.openxmlformats.org/officeDocument/2006/relationships/image" Target="../media/image22.png"/><Relationship Id="rId6" Type="http://schemas.openxmlformats.org/officeDocument/2006/relationships/image" Target="../media/image21.png"/><Relationship Id="rId5" Type="http://schemas.openxmlformats.org/officeDocument/2006/relationships/tags" Target="../tags/tag88.xml"/><Relationship Id="rId4" Type="http://schemas.openxmlformats.org/officeDocument/2006/relationships/tags" Target="../tags/tag87.xml"/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0" Type="http://schemas.openxmlformats.org/officeDocument/2006/relationships/notesSlide" Target="../notesSlides/notesSlide19.xml"/><Relationship Id="rId1" Type="http://schemas.openxmlformats.org/officeDocument/2006/relationships/tags" Target="../tags/tag8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ags" Target="../tags/tag95.xml"/><Relationship Id="rId7" Type="http://schemas.openxmlformats.org/officeDocument/2006/relationships/image" Target="../media/image24.png"/><Relationship Id="rId6" Type="http://schemas.openxmlformats.org/officeDocument/2006/relationships/image" Target="../media/image23.png"/><Relationship Id="rId5" Type="http://schemas.openxmlformats.org/officeDocument/2006/relationships/tags" Target="../tags/tag94.xml"/><Relationship Id="rId4" Type="http://schemas.openxmlformats.org/officeDocument/2006/relationships/tags" Target="../tags/tag93.xml"/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0" Type="http://schemas.openxmlformats.org/officeDocument/2006/relationships/notesSlide" Target="../notesSlides/notesSlide20.xml"/><Relationship Id="rId1" Type="http://schemas.openxmlformats.org/officeDocument/2006/relationships/tags" Target="../tags/tag90.xml"/></Relationships>
</file>

<file path=ppt/slides/_rels/slide21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21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101.xml"/><Relationship Id="rId6" Type="http://schemas.openxmlformats.org/officeDocument/2006/relationships/image" Target="../media/image25.png"/><Relationship Id="rId5" Type="http://schemas.openxmlformats.org/officeDocument/2006/relationships/tags" Target="../tags/tag100.xml"/><Relationship Id="rId4" Type="http://schemas.openxmlformats.org/officeDocument/2006/relationships/tags" Target="../tags/tag99.xml"/><Relationship Id="rId3" Type="http://schemas.openxmlformats.org/officeDocument/2006/relationships/tags" Target="../tags/tag98.xml"/><Relationship Id="rId2" Type="http://schemas.openxmlformats.org/officeDocument/2006/relationships/tags" Target="../tags/tag97.xml"/><Relationship Id="rId1" Type="http://schemas.openxmlformats.org/officeDocument/2006/relationships/tags" Target="../tags/tag9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4.png"/></Relationships>
</file>

<file path=ppt/slides/_rels/slide23.xml.rels><?xml version="1.0" encoding="UTF-8" standalone="yes"?>
<Relationships xmlns="http://schemas.openxmlformats.org/package/2006/relationships"><Relationship Id="rId9" Type="http://schemas.openxmlformats.org/officeDocument/2006/relationships/tags" Target="../tags/tag109.xml"/><Relationship Id="rId8" Type="http://schemas.openxmlformats.org/officeDocument/2006/relationships/tags" Target="../tags/tag108.xml"/><Relationship Id="rId7" Type="http://schemas.openxmlformats.org/officeDocument/2006/relationships/image" Target="../media/image4.png"/><Relationship Id="rId6" Type="http://schemas.openxmlformats.org/officeDocument/2006/relationships/tags" Target="../tags/tag107.xml"/><Relationship Id="rId5" Type="http://schemas.openxmlformats.org/officeDocument/2006/relationships/tags" Target="../tags/tag106.xml"/><Relationship Id="rId4" Type="http://schemas.openxmlformats.org/officeDocument/2006/relationships/tags" Target="../tags/tag105.xml"/><Relationship Id="rId3" Type="http://schemas.openxmlformats.org/officeDocument/2006/relationships/tags" Target="../tags/tag104.xml"/><Relationship Id="rId2" Type="http://schemas.openxmlformats.org/officeDocument/2006/relationships/tags" Target="../tags/tag103.xml"/><Relationship Id="rId11" Type="http://schemas.openxmlformats.org/officeDocument/2006/relationships/notesSlide" Target="../notesSlides/notesSlide23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102.xml"/></Relationships>
</file>

<file path=ppt/slides/_rels/slide24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4.xml"/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4.png"/><Relationship Id="rId1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3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4.png"/><Relationship Id="rId1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5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11.xml"/><Relationship Id="rId6" Type="http://schemas.openxmlformats.org/officeDocument/2006/relationships/image" Target="../media/image5.png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6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17.xml"/><Relationship Id="rId6" Type="http://schemas.openxmlformats.org/officeDocument/2006/relationships/image" Target="../media/image6.png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s/_rels/slide7.xml.rels><?xml version="1.0" encoding="UTF-8" standalone="yes"?>
<Relationships xmlns="http://schemas.openxmlformats.org/package/2006/relationships"><Relationship Id="rId9" Type="http://schemas.openxmlformats.org/officeDocument/2006/relationships/tags" Target="../tags/tag23.xml"/><Relationship Id="rId8" Type="http://schemas.openxmlformats.org/officeDocument/2006/relationships/image" Target="../media/image9.png"/><Relationship Id="rId7" Type="http://schemas.openxmlformats.org/officeDocument/2006/relationships/image" Target="../media/image8.png"/><Relationship Id="rId6" Type="http://schemas.openxmlformats.org/officeDocument/2006/relationships/image" Target="../media/image7.png"/><Relationship Id="rId5" Type="http://schemas.openxmlformats.org/officeDocument/2006/relationships/tags" Target="../tags/tag22.xml"/><Relationship Id="rId4" Type="http://schemas.openxmlformats.org/officeDocument/2006/relationships/tags" Target="../tags/tag21.xml"/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1" Type="http://schemas.openxmlformats.org/officeDocument/2006/relationships/notesSlide" Target="../notesSlides/notesSlide7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18.xml"/></Relationships>
</file>

<file path=ppt/slides/_rels/slide8.xml.rels><?xml version="1.0" encoding="UTF-8" standalone="yes"?>
<Relationships xmlns="http://schemas.openxmlformats.org/package/2006/relationships"><Relationship Id="rId9" Type="http://schemas.openxmlformats.org/officeDocument/2006/relationships/tags" Target="../tags/tag29.xml"/><Relationship Id="rId8" Type="http://schemas.openxmlformats.org/officeDocument/2006/relationships/image" Target="../media/image12.png"/><Relationship Id="rId7" Type="http://schemas.openxmlformats.org/officeDocument/2006/relationships/image" Target="../media/image11.png"/><Relationship Id="rId6" Type="http://schemas.openxmlformats.org/officeDocument/2006/relationships/image" Target="../media/image10.png"/><Relationship Id="rId5" Type="http://schemas.openxmlformats.org/officeDocument/2006/relationships/tags" Target="../tags/tag28.xml"/><Relationship Id="rId4" Type="http://schemas.openxmlformats.org/officeDocument/2006/relationships/tags" Target="../tags/tag27.xml"/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1" Type="http://schemas.openxmlformats.org/officeDocument/2006/relationships/notesSlide" Target="../notesSlides/notesSlide8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24.xml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ags" Target="../tags/tag35.xml"/><Relationship Id="rId7" Type="http://schemas.openxmlformats.org/officeDocument/2006/relationships/image" Target="../media/image14.png"/><Relationship Id="rId6" Type="http://schemas.openxmlformats.org/officeDocument/2006/relationships/image" Target="../media/image13.png"/><Relationship Id="rId5" Type="http://schemas.openxmlformats.org/officeDocument/2006/relationships/tags" Target="../tags/tag34.xml"/><Relationship Id="rId4" Type="http://schemas.openxmlformats.org/officeDocument/2006/relationships/tags" Target="../tags/tag33.xml"/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0" Type="http://schemas.openxmlformats.org/officeDocument/2006/relationships/notesSlide" Target="../notesSlides/notesSlide9.xml"/><Relationship Id="rId1" Type="http://schemas.openxmlformats.org/officeDocument/2006/relationships/tags" Target="../tags/tag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01254" y="1898016"/>
            <a:ext cx="5865255" cy="1786520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Django</a:t>
            </a:r>
            <a:r>
              <a:rPr lang="zh-CN" altLang="en-US" dirty="0">
                <a:sym typeface="+mn-ea"/>
              </a:rPr>
              <a:t>框架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996320"/>
            <a:ext cx="5865254" cy="441321"/>
          </a:xfrm>
        </p:spPr>
        <p:txBody>
          <a:bodyPr/>
          <a:lstStyle/>
          <a:p>
            <a:r>
              <a:rPr lang="zh-CN" altLang="en-US" dirty="0"/>
              <a:t>讲师：塔卡       时间：</a:t>
            </a:r>
            <a:r>
              <a:rPr lang="en-US" altLang="zh-CN" dirty="0"/>
              <a:t>2018</a:t>
            </a:r>
            <a:r>
              <a:rPr lang="zh-CN" altLang="en-US" dirty="0" smtClean="0"/>
              <a:t>年</a:t>
            </a:r>
            <a:r>
              <a:rPr lang="en-US" altLang="zh-CN" dirty="0" smtClean="0"/>
              <a:t>11</a:t>
            </a:r>
            <a:r>
              <a:rPr lang="zh-CN" altLang="en-US" dirty="0" smtClean="0"/>
              <a:t>月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4381323" y="6586104"/>
            <a:ext cx="766427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/>
              <a:t>免责声明：如果本课程内有任何内容侵害了您的权益，请您及时联系我们    潭州教育全球教学服务中心热线：</a:t>
            </a:r>
            <a:r>
              <a:rPr kumimoji="1" lang="en-US" altLang="zh-CN" sz="1100" dirty="0"/>
              <a:t>4001567315</a:t>
            </a:r>
            <a:endParaRPr kumimoji="1" lang="zh-CN" altLang="en-US" sz="1100" dirty="0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" name="标题 3"/>
          <p:cNvSpPr>
            <a:spLocks noGrp="1"/>
          </p:cNvSpPr>
          <p:nvPr/>
        </p:nvSpPr>
        <p:spPr>
          <a:xfrm>
            <a:off x="580390" y="223871"/>
            <a:ext cx="112395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dirty="0"/>
              <a:t>request</a:t>
            </a:r>
            <a:r>
              <a:rPr lang="zh-CN" altLang="en-US" dirty="0"/>
              <a:t>中</a:t>
            </a:r>
            <a:r>
              <a:rPr lang="en-US" altLang="zh-CN" dirty="0"/>
              <a:t>GET</a:t>
            </a:r>
            <a:r>
              <a:rPr lang="zh-CN" altLang="en-US" dirty="0"/>
              <a:t>和</a:t>
            </a:r>
            <a:r>
              <a:rPr lang="en-US" altLang="zh-CN" dirty="0"/>
              <a:t>POST</a:t>
            </a:r>
            <a:r>
              <a:rPr lang="zh-CN" altLang="en-US" dirty="0"/>
              <a:t>对象的属性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4" name="文本框 3"/>
          <p:cNvSpPr txBox="1"/>
          <p:nvPr/>
        </p:nvSpPr>
        <p:spPr>
          <a:xfrm>
            <a:off x="814070" y="2030095"/>
            <a:ext cx="4786630" cy="28613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txBody>
          <a:bodyPr wrap="square" rtlCol="0" anchor="t">
            <a:spAutoFit/>
          </a:bodyPr>
          <a:lstStyle/>
          <a:p>
            <a:pPr fontAlgn="auto">
              <a:lnSpc>
                <a:spcPct val="150000"/>
              </a:lnSpc>
            </a:pPr>
            <a:r>
              <a:rPr lang="zh-CN" altLang="en-US" sz="2000" b="1">
                <a:solidFill>
                  <a:schemeClr val="tx1"/>
                </a:solidFill>
              </a:rPr>
              <a:t>- QueryDict类型的对象</a:t>
            </a:r>
            <a:endParaRPr lang="zh-CN" altLang="en-US" sz="2000" b="1">
              <a:solidFill>
                <a:schemeClr val="tx1"/>
              </a:solidFill>
            </a:endParaRPr>
          </a:p>
          <a:p>
            <a:pPr fontAlgn="auto">
              <a:lnSpc>
                <a:spcPct val="150000"/>
              </a:lnSpc>
            </a:pPr>
            <a:r>
              <a:rPr lang="zh-CN" altLang="en-US" sz="2000" b="1">
                <a:solidFill>
                  <a:schemeClr val="tx1"/>
                </a:solidFill>
              </a:rPr>
              <a:t>- 包含get请求方式的所有参数</a:t>
            </a:r>
            <a:endParaRPr lang="zh-CN" altLang="en-US" sz="2000" b="1">
              <a:solidFill>
                <a:schemeClr val="tx1"/>
              </a:solidFill>
            </a:endParaRPr>
          </a:p>
          <a:p>
            <a:pPr fontAlgn="auto">
              <a:lnSpc>
                <a:spcPct val="150000"/>
              </a:lnSpc>
            </a:pPr>
            <a:r>
              <a:rPr lang="zh-CN" altLang="en-US" sz="2000" b="1">
                <a:solidFill>
                  <a:schemeClr val="tx1"/>
                </a:solidFill>
              </a:rPr>
              <a:t>- 与url请求地址中的参数对应，位于?后面</a:t>
            </a:r>
            <a:endParaRPr lang="zh-CN" altLang="en-US" sz="2000" b="1">
              <a:solidFill>
                <a:schemeClr val="tx1"/>
              </a:solidFill>
            </a:endParaRPr>
          </a:p>
          <a:p>
            <a:pPr fontAlgn="auto">
              <a:lnSpc>
                <a:spcPct val="150000"/>
              </a:lnSpc>
            </a:pPr>
            <a:r>
              <a:rPr lang="zh-CN" altLang="en-US" sz="2000" b="1">
                <a:solidFill>
                  <a:schemeClr val="tx1"/>
                </a:solidFill>
              </a:rPr>
              <a:t>- 参数的格式是键值对，如key1=value1</a:t>
            </a:r>
            <a:endParaRPr lang="zh-CN" altLang="en-US" sz="2000" b="1">
              <a:solidFill>
                <a:schemeClr val="tx1"/>
              </a:solidFill>
            </a:endParaRPr>
          </a:p>
          <a:p>
            <a:pPr fontAlgn="auto">
              <a:lnSpc>
                <a:spcPct val="150000"/>
              </a:lnSpc>
            </a:pPr>
            <a:r>
              <a:rPr lang="zh-CN" altLang="en-US" sz="2000" b="1">
                <a:solidFill>
                  <a:schemeClr val="tx1"/>
                </a:solidFill>
              </a:rPr>
              <a:t>- 多个参数之间，使用&amp;连接，如key1=value1&amp;key2=value2</a:t>
            </a:r>
            <a:endParaRPr lang="zh-CN" altLang="en-US" sz="2000" b="1">
              <a:solidFill>
                <a:schemeClr val="tx1"/>
              </a:solidFill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814705" y="1569720"/>
            <a:ext cx="4785360" cy="460375"/>
          </a:xfrm>
          <a:prstGeom prst="rect">
            <a:avLst/>
          </a:prstGeom>
          <a:solidFill>
            <a:srgbClr val="5BA78C"/>
          </a:solidFill>
        </p:spPr>
        <p:txBody>
          <a:bodyPr wrap="square" rtlCol="0" anchor="t">
            <a:spAutoFit/>
          </a:bodyPr>
          <a:lstStyle/>
          <a:p>
            <a:r>
              <a:rPr lang="zh-CN" altLang="en-US" sz="2400">
                <a:sym typeface="+mn-ea"/>
              </a:rPr>
              <a:t>GET属性</a:t>
            </a:r>
            <a:endParaRPr lang="en-US" altLang="zh-CN" sz="2400" b="1">
              <a:solidFill>
                <a:schemeClr val="bg1"/>
              </a:solidFill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5600065" y="1569720"/>
            <a:ext cx="5781040" cy="460375"/>
          </a:xfrm>
          <a:prstGeom prst="rect">
            <a:avLst/>
          </a:prstGeom>
          <a:solidFill>
            <a:srgbClr val="E76861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sz="2400" b="1">
                <a:solidFill>
                  <a:schemeClr val="bg1"/>
                </a:solidFill>
              </a:rPr>
              <a:t>POST属性</a:t>
            </a:r>
            <a:endParaRPr lang="en-US" altLang="zh-CN" sz="2400" b="1">
              <a:solidFill>
                <a:schemeClr val="bg1"/>
              </a:solidFill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5600700" y="2030095"/>
            <a:ext cx="5781675" cy="332295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 anchor="t">
            <a:spAutoFit/>
          </a:bodyPr>
          <a:lstStyle/>
          <a:p>
            <a:pPr algn="l" fontAlgn="auto">
              <a:lnSpc>
                <a:spcPct val="150000"/>
              </a:lnSpc>
              <a:buNone/>
            </a:pPr>
            <a:r>
              <a:rPr lang="zh-CN" altLang="en-US" sz="2000" b="1">
                <a:solidFill>
                  <a:schemeClr val="tx1"/>
                </a:solidFill>
              </a:rPr>
              <a:t>- QueryDict类型的对象</a:t>
            </a:r>
            <a:endParaRPr lang="zh-CN" altLang="en-US" sz="2000" b="1">
              <a:solidFill>
                <a:schemeClr val="tx1"/>
              </a:solidFill>
            </a:endParaRPr>
          </a:p>
          <a:p>
            <a:pPr algn="l" fontAlgn="auto">
              <a:lnSpc>
                <a:spcPct val="150000"/>
              </a:lnSpc>
              <a:buNone/>
            </a:pPr>
            <a:r>
              <a:rPr lang="zh-CN" altLang="en-US" sz="2000" b="1">
                <a:solidFill>
                  <a:schemeClr val="tx1"/>
                </a:solidFill>
              </a:rPr>
              <a:t>- 包含post请求方式的所有参数</a:t>
            </a:r>
            <a:endParaRPr lang="zh-CN" altLang="en-US" sz="2000" b="1">
              <a:solidFill>
                <a:schemeClr val="tx1"/>
              </a:solidFill>
            </a:endParaRPr>
          </a:p>
          <a:p>
            <a:pPr algn="l" fontAlgn="auto">
              <a:lnSpc>
                <a:spcPct val="150000"/>
              </a:lnSpc>
              <a:buNone/>
            </a:pPr>
            <a:r>
              <a:rPr lang="zh-CN" altLang="en-US" sz="2000" b="1">
                <a:solidFill>
                  <a:schemeClr val="tx1"/>
                </a:solidFill>
              </a:rPr>
              <a:t>- 与form表单中的控件对应</a:t>
            </a:r>
            <a:endParaRPr lang="zh-CN" altLang="en-US" sz="2000" b="1">
              <a:solidFill>
                <a:schemeClr val="tx1"/>
              </a:solidFill>
            </a:endParaRPr>
          </a:p>
          <a:p>
            <a:pPr algn="l" fontAlgn="auto">
              <a:lnSpc>
                <a:spcPct val="150000"/>
              </a:lnSpc>
              <a:buNone/>
            </a:pPr>
            <a:r>
              <a:rPr lang="zh-CN" altLang="en-US" sz="2000" b="1">
                <a:solidFill>
                  <a:schemeClr val="tx1"/>
                </a:solidFill>
              </a:rPr>
              <a:t>- 表单中控件要有name属性，则name属性的值为键，value属性的值为值，构成键值对提交</a:t>
            </a:r>
            <a:endParaRPr lang="zh-CN" altLang="en-US" sz="2000" b="1">
              <a:solidFill>
                <a:schemeClr val="tx1"/>
              </a:solidFill>
            </a:endParaRPr>
          </a:p>
          <a:p>
            <a:pPr algn="l" fontAlgn="auto">
              <a:lnSpc>
                <a:spcPct val="150000"/>
              </a:lnSpc>
              <a:buNone/>
            </a:pPr>
            <a:r>
              <a:rPr lang="zh-CN" altLang="en-US" sz="2000" b="1">
                <a:solidFill>
                  <a:schemeClr val="tx1"/>
                </a:solidFill>
              </a:rPr>
              <a:t>- 对于checkbox控件，name属性一样为一组，当控件被选中后会被提交，存在一键多值的情况</a:t>
            </a:r>
            <a:r>
              <a:rPr lang="en-US" altLang="zh-CN" sz="2000" b="1">
                <a:solidFill>
                  <a:schemeClr val="tx1"/>
                </a:solidFill>
              </a:rPr>
              <a:t>.</a:t>
            </a:r>
            <a:endParaRPr lang="en-US" altLang="zh-CN" sz="2000" b="1">
              <a:solidFill>
                <a:schemeClr val="tx1"/>
              </a:solidFill>
            </a:endParaRPr>
          </a:p>
        </p:txBody>
      </p:sp>
    </p:spTree>
    <p:custDataLst>
      <p:tags r:id="rId6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en-US" altLang="zh-CN" dirty="0"/>
              <a:t>GET</a:t>
            </a:r>
            <a:r>
              <a:rPr lang="zh-CN" altLang="en-US" dirty="0"/>
              <a:t>和</a:t>
            </a:r>
            <a:r>
              <a:rPr lang="en-US" altLang="zh-CN" dirty="0"/>
              <a:t>POST</a:t>
            </a:r>
            <a:r>
              <a:rPr lang="zh-CN" altLang="en-US" dirty="0"/>
              <a:t>请求方式总结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3" name="圆角矩形 2"/>
          <p:cNvSpPr/>
          <p:nvPr/>
        </p:nvSpPr>
        <p:spPr>
          <a:xfrm>
            <a:off x="1497330" y="1285240"/>
            <a:ext cx="7958455" cy="4572635"/>
          </a:xfrm>
          <a:prstGeom prst="roundRect">
            <a:avLst/>
          </a:prstGeom>
          <a:solidFill>
            <a:srgbClr val="5BA78C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. GET:GET如其名，是从服务器获取数据，不会更改服务器的状态和数据，在URL中携带参数发送给服务器。</a:t>
            </a:r>
            <a:endParaRPr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. POST则是将一定量的数据发送给服务器，一般会更改服务器的数据。</a:t>
            </a:r>
            <a:endParaRPr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3. POST方法的参数不能在URL当中看到,他是通过body参数传递给服务器的,所以相对GET方法直接能在URL当中看到传递的参数,显得更加安全一些.当然,也不能简单的判定POST方法比GET方法更安全,要使网站保持安全,需要做更多的安全处理.</a:t>
            </a:r>
            <a:endParaRPr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  <p:custDataLst>
      <p:tags r:id="rId6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文件上传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11" name="剪去单角的矩形 10"/>
          <p:cNvSpPr/>
          <p:nvPr/>
        </p:nvSpPr>
        <p:spPr>
          <a:xfrm>
            <a:off x="1169670" y="1192530"/>
            <a:ext cx="9008745" cy="1216660"/>
          </a:xfrm>
          <a:prstGeom prst="snip1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altLang="zh-CN" sz="2000"/>
              <a:t>Django</a:t>
            </a:r>
            <a:r>
              <a:rPr lang="zh-CN" altLang="en-US" sz="2000"/>
              <a:t>在处理文件上传的时候</a:t>
            </a:r>
            <a:r>
              <a:rPr lang="en-US" altLang="zh-CN" sz="2000"/>
              <a:t>,</a:t>
            </a:r>
            <a:r>
              <a:rPr lang="zh-CN" altLang="en-US" sz="2000"/>
              <a:t>文件数据被保存在了</a:t>
            </a:r>
            <a:r>
              <a:rPr lang="en-US" altLang="zh-CN" sz="2000"/>
              <a:t>request.FILES</a:t>
            </a:r>
            <a:endParaRPr lang="en-US" altLang="zh-CN" sz="2000"/>
          </a:p>
          <a:p>
            <a:pPr algn="l"/>
            <a:r>
              <a:rPr lang="en-US" altLang="zh-CN" sz="2000"/>
              <a:t>FILES中的每个键为&lt;input type="file" name="" /&gt;中的name</a:t>
            </a:r>
            <a:endParaRPr lang="en-US" altLang="zh-CN" sz="2000"/>
          </a:p>
        </p:txBody>
      </p:sp>
      <p:sp>
        <p:nvSpPr>
          <p:cNvPr id="8" name="文本框 7"/>
          <p:cNvSpPr txBox="1"/>
          <p:nvPr/>
        </p:nvSpPr>
        <p:spPr>
          <a:xfrm>
            <a:off x="1169670" y="2948305"/>
            <a:ext cx="5781040" cy="460375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 altLang="en-US" sz="2400" b="1">
                <a:solidFill>
                  <a:schemeClr val="tx1"/>
                </a:solidFill>
              </a:rPr>
              <a:t>设置文件的存储路径</a:t>
            </a:r>
            <a:endParaRPr lang="zh-CN" altLang="en-US" sz="2400" b="1">
              <a:solidFill>
                <a:schemeClr val="tx1"/>
              </a:solidFill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170305" y="3408680"/>
            <a:ext cx="5780405" cy="92202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/>
              <a:t>1.</a:t>
            </a:r>
            <a:r>
              <a:rPr lang="zh-CN" altLang="en-US"/>
              <a:t>在项目根目录下</a:t>
            </a:r>
            <a:r>
              <a:rPr lang="en-US" altLang="zh-CN"/>
              <a:t>static</a:t>
            </a:r>
            <a:r>
              <a:rPr lang="zh-CN" altLang="en-US"/>
              <a:t>中创建media文件夹</a:t>
            </a:r>
            <a:endParaRPr lang="zh-CN" altLang="en-US"/>
          </a:p>
          <a:p>
            <a:r>
              <a:rPr lang="en-US" altLang="zh-CN"/>
              <a:t>2.</a:t>
            </a:r>
            <a:r>
              <a:rPr lang="zh-CN" altLang="en-US"/>
              <a:t>图片上传后，会被保存到“/static/media/文件”</a:t>
            </a:r>
            <a:endParaRPr lang="zh-CN" altLang="en-US"/>
          </a:p>
          <a:p>
            <a:r>
              <a:rPr lang="en-US" altLang="zh-CN"/>
              <a:t>3.</a:t>
            </a:r>
            <a:r>
              <a:rPr lang="zh-CN" altLang="en-US"/>
              <a:t>打开settings.py文件，增加media_root项</a:t>
            </a:r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70305" y="4496435"/>
            <a:ext cx="5857240" cy="1238250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文件上传</a:t>
            </a:r>
            <a:r>
              <a:rPr lang="en-US" altLang="zh-CN" dirty="0"/>
              <a:t>form</a:t>
            </a:r>
            <a:r>
              <a:rPr lang="zh-CN" altLang="en-US" dirty="0"/>
              <a:t>表单中</a:t>
            </a:r>
            <a:r>
              <a:rPr lang="en-US" altLang="zh-CN" dirty="0"/>
              <a:t>:</a:t>
            </a:r>
            <a:endParaRPr lang="en-US" altLang="zh-CN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83335" y="1470660"/>
            <a:ext cx="8895080" cy="3495040"/>
          </a:xfrm>
          <a:prstGeom prst="rect">
            <a:avLst/>
          </a:prstGeom>
        </p:spPr>
      </p:pic>
      <p:sp>
        <p:nvSpPr>
          <p:cNvPr id="227" name=" 227"/>
          <p:cNvSpPr/>
          <p:nvPr/>
        </p:nvSpPr>
        <p:spPr>
          <a:xfrm>
            <a:off x="5033010" y="457835"/>
            <a:ext cx="5927090" cy="2012950"/>
          </a:xfrm>
          <a:prstGeom prst="wedgeEllipseCallout">
            <a:avLst>
              <a:gd name="adj1" fmla="val -25046"/>
              <a:gd name="adj2" fmla="val 6569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FILES只有在请求的方法为POST 且提交的&lt;form&gt;带有enctype="multipart/form-data" 的情况下才会包含数据。否则，FILES 将为一个空的类似于字典的对象</a:t>
            </a:r>
            <a:endParaRPr lang="en-US" altLang="zh-CN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7" grpId="0" bldLvl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文件上传视图函数</a:t>
            </a:r>
            <a:r>
              <a:rPr lang="en-US" altLang="zh-CN" dirty="0"/>
              <a:t>:</a:t>
            </a:r>
            <a:endParaRPr lang="en-US" altLang="zh-CN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59255" y="1289050"/>
            <a:ext cx="7096125" cy="4476750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" name="标题 3"/>
          <p:cNvSpPr>
            <a:spLocks noGrp="1"/>
          </p:cNvSpPr>
          <p:nvPr/>
        </p:nvSpPr>
        <p:spPr>
          <a:xfrm>
            <a:off x="580390" y="223871"/>
            <a:ext cx="112395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dirty="0"/>
              <a:t>HttpResponse对象</a:t>
            </a:r>
            <a:r>
              <a:rPr lang="en-US" dirty="0"/>
              <a:t>:</a:t>
            </a:r>
            <a:endParaRPr lang="en-US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79270" y="1567180"/>
            <a:ext cx="7343140" cy="3723640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" name="标题 3"/>
          <p:cNvSpPr>
            <a:spLocks noGrp="1"/>
          </p:cNvSpPr>
          <p:nvPr/>
        </p:nvSpPr>
        <p:spPr>
          <a:xfrm>
            <a:off x="580390" y="223871"/>
            <a:ext cx="112395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dirty="0"/>
              <a:t>HttpResponse</a:t>
            </a:r>
            <a:r>
              <a:rPr lang="zh-CN" dirty="0"/>
              <a:t>的子类</a:t>
            </a:r>
            <a:r>
              <a:rPr lang="en-US" dirty="0"/>
              <a:t>:</a:t>
            </a:r>
            <a:endParaRPr lang="en-US" dirty="0"/>
          </a:p>
        </p:txBody>
      </p:sp>
      <p:sp>
        <p:nvSpPr>
          <p:cNvPr id="5" name="圆角矩形 4"/>
          <p:cNvSpPr/>
          <p:nvPr/>
        </p:nvSpPr>
        <p:spPr>
          <a:xfrm>
            <a:off x="1912620" y="1192530"/>
            <a:ext cx="8727440" cy="2500630"/>
          </a:xfrm>
          <a:prstGeom prst="round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zh-CN" altLang="en-US" sz="2400"/>
              <a:t>返回数据的响应函数有</a:t>
            </a:r>
            <a:r>
              <a:rPr lang="en-US" altLang="zh-CN" sz="2400"/>
              <a:t>:</a:t>
            </a:r>
            <a:endParaRPr lang="en-US" altLang="zh-CN" sz="2400"/>
          </a:p>
          <a:p>
            <a:pPr algn="l"/>
            <a:r>
              <a:rPr lang="en-US" altLang="zh-CN" sz="2400"/>
              <a:t>HttpResponse()   </a:t>
            </a:r>
            <a:r>
              <a:rPr lang="zh-CN" altLang="en-US" sz="2400"/>
              <a:t>返回简单的字符串对象</a:t>
            </a:r>
            <a:endParaRPr lang="en-US" altLang="zh-CN" sz="2400"/>
          </a:p>
          <a:p>
            <a:pPr algn="l"/>
            <a:r>
              <a:rPr lang="en-US" altLang="zh-CN" sz="2400"/>
              <a:t>render()   </a:t>
            </a:r>
            <a:r>
              <a:rPr lang="zh-CN" altLang="en-US" sz="2400"/>
              <a:t>渲染模板</a:t>
            </a:r>
            <a:endParaRPr lang="en-US" altLang="zh-CN" sz="2400"/>
          </a:p>
          <a:p>
            <a:pPr algn="l"/>
            <a:r>
              <a:rPr lang="en-US" altLang="zh-CN" sz="2400"/>
              <a:t>redirect()  </a:t>
            </a:r>
            <a:r>
              <a:rPr lang="zh-CN" altLang="en-US" sz="2400"/>
              <a:t>重定向</a:t>
            </a:r>
            <a:endParaRPr lang="en-US" altLang="zh-CN" sz="2400"/>
          </a:p>
          <a:p>
            <a:pPr algn="l"/>
            <a:r>
              <a:rPr lang="en-US" altLang="zh-CN" sz="2400"/>
              <a:t>JsonResponse()  </a:t>
            </a:r>
            <a:r>
              <a:rPr lang="zh-CN" altLang="en-US" sz="2400"/>
              <a:t>返回</a:t>
            </a:r>
            <a:r>
              <a:rPr lang="en-US" altLang="zh-CN" sz="2400"/>
              <a:t>json</a:t>
            </a:r>
            <a:r>
              <a:rPr lang="zh-CN" altLang="en-US" sz="2400"/>
              <a:t>数据</a:t>
            </a:r>
            <a:endParaRPr lang="en-US" altLang="zh-CN" sz="240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47240" y="4118610"/>
            <a:ext cx="6401435" cy="1647190"/>
          </a:xfrm>
          <a:prstGeom prst="rect">
            <a:avLst/>
          </a:prstGeom>
        </p:spPr>
      </p:pic>
      <p:sp>
        <p:nvSpPr>
          <p:cNvPr id="228" name=" 228"/>
          <p:cNvSpPr/>
          <p:nvPr/>
        </p:nvSpPr>
        <p:spPr>
          <a:xfrm>
            <a:off x="7225030" y="2391410"/>
            <a:ext cx="3959225" cy="1551940"/>
          </a:xfrm>
          <a:prstGeom prst="wedgeRectCallout">
            <a:avLst>
              <a:gd name="adj1" fmla="val -40825"/>
              <a:gd name="adj2" fmla="val 7626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>
                <a:solidFill>
                  <a:srgbClr val="FFFFFF"/>
                </a:solidFill>
              </a:rPr>
              <a:t>- 帮助用户创建JSON编码的响应</a:t>
            </a:r>
            <a:endParaRPr lang="zh-CN" altLang="en-US">
              <a:solidFill>
                <a:srgbClr val="FFFFFF"/>
              </a:solidFill>
            </a:endParaRP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>
                <a:solidFill>
                  <a:srgbClr val="FFFFFF"/>
                </a:solidFill>
              </a:rPr>
              <a:t>- 参数data是字典对象</a:t>
            </a:r>
            <a:endParaRPr lang="zh-CN" altLang="en-US">
              <a:solidFill>
                <a:srgbClr val="FFFFFF"/>
              </a:solidFill>
            </a:endParaRP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>
                <a:solidFill>
                  <a:srgbClr val="FFFFFF"/>
                </a:solidFill>
              </a:rPr>
              <a:t>- JsonResponse的默认Content-Type为application/json</a:t>
            </a:r>
            <a:endParaRPr lang="zh-CN" altLang="en-US">
              <a:solidFill>
                <a:srgbClr val="FFFFFF"/>
              </a:solidFill>
            </a:endParaRPr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>
            <a:normAutofit/>
          </a:bodyPr>
          <a:lstStyle/>
          <a:p>
            <a:r>
              <a:rPr lang="en-US" altLang="zh-CN" dirty="0"/>
              <a:t>HTTP</a:t>
            </a:r>
            <a:r>
              <a:rPr lang="zh-CN" altLang="en-US" dirty="0"/>
              <a:t>协议</a:t>
            </a:r>
            <a:r>
              <a:rPr lang="en-US" altLang="zh-CN" dirty="0"/>
              <a:t>:</a:t>
            </a:r>
            <a:endParaRPr lang="en-US" altLang="zh-CN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2030" y="1311275"/>
            <a:ext cx="5386070" cy="4234815"/>
          </a:xfrm>
          <a:prstGeom prst="rect">
            <a:avLst/>
          </a:prstGeom>
        </p:spPr>
      </p:pic>
      <p:sp>
        <p:nvSpPr>
          <p:cNvPr id="5" name="圆角矩形 4"/>
          <p:cNvSpPr/>
          <p:nvPr/>
        </p:nvSpPr>
        <p:spPr>
          <a:xfrm>
            <a:off x="7242810" y="1192530"/>
            <a:ext cx="3633470" cy="4079875"/>
          </a:xfrm>
          <a:prstGeom prst="round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zh-CN" altLang="en-US" sz="2400">
                <a:sym typeface="+mn-ea"/>
              </a:rPr>
              <a:t>HTTP（超文本传输协议）是一个应用层协议，由请求和响应构成，是一个标准的客户端服务器模型。HTTP是一个无状态的协议</a:t>
            </a:r>
            <a:r>
              <a:rPr lang="zh-CN" altLang="en-US" sz="2400"/>
              <a:t>。</a:t>
            </a:r>
            <a:endParaRPr lang="zh-CN" altLang="en-US" sz="2400"/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38480" y="2847975"/>
            <a:ext cx="7162800" cy="1568450"/>
          </a:xfrm>
        </p:spPr>
        <p:txBody>
          <a:bodyPr>
            <a:normAutofit/>
          </a:bodyPr>
          <a:lstStyle/>
          <a:p>
            <a:pPr algn="l"/>
            <a:r>
              <a:rPr lang="zh-CN" altLang="en-US" sz="4000" dirty="0">
                <a:latin typeface="+mn-ea"/>
                <a:ea typeface="+mn-ea"/>
              </a:rPr>
              <a:t>客户端和服务器都是怎么记录登录的状态的呢</a:t>
            </a:r>
            <a:r>
              <a:rPr lang="en-US" altLang="zh-CN" sz="4000" dirty="0">
                <a:latin typeface="+mn-ea"/>
                <a:ea typeface="+mn-ea"/>
              </a:rPr>
              <a:t>?</a:t>
            </a:r>
            <a:endParaRPr lang="en-US" altLang="zh-CN" sz="4000" dirty="0">
              <a:latin typeface="+mn-ea"/>
              <a:ea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浏览器中的</a:t>
            </a:r>
            <a:r>
              <a:rPr lang="en-US" altLang="zh-CN" dirty="0"/>
              <a:t>----cookie:</a:t>
            </a:r>
            <a:endParaRPr lang="en-US" altLang="zh-CN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0255" y="1192530"/>
            <a:ext cx="5398770" cy="3855720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69025" y="1292225"/>
            <a:ext cx="5824220" cy="3755390"/>
          </a:xfrm>
          <a:prstGeom prst="rect">
            <a:avLst/>
          </a:prstGeom>
        </p:spPr>
      </p:pic>
    </p:spTree>
    <p:custDataLst>
      <p:tags r:id="rId8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46735" y="237206"/>
            <a:ext cx="11239500" cy="968375"/>
          </a:xfrm>
        </p:spPr>
        <p:txBody>
          <a:bodyPr/>
          <a:lstStyle/>
          <a:p>
            <a:r>
              <a:rPr lang="zh-CN" altLang="en-US" dirty="0"/>
              <a:t>知识回顾</a:t>
            </a:r>
            <a:r>
              <a:rPr lang="en-US" altLang="zh-CN" dirty="0"/>
              <a:t>:</a:t>
            </a:r>
            <a:endParaRPr lang="en-US" altLang="zh-CN" dirty="0"/>
          </a:p>
        </p:txBody>
      </p:sp>
      <p:grpSp>
        <p:nvGrpSpPr>
          <p:cNvPr id="14" name="Group 7"/>
          <p:cNvGrpSpPr/>
          <p:nvPr/>
        </p:nvGrpSpPr>
        <p:grpSpPr bwMode="auto">
          <a:xfrm>
            <a:off x="546832" y="1747207"/>
            <a:ext cx="2176463" cy="2198688"/>
            <a:chOff x="567" y="754"/>
            <a:chExt cx="1371" cy="1385"/>
          </a:xfrm>
          <a:solidFill>
            <a:schemeClr val="accent1"/>
          </a:solidFill>
        </p:grpSpPr>
        <p:sp>
          <p:nvSpPr>
            <p:cNvPr id="16" name="Freeform 8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7" name="Freeform 9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10" name="Group 4"/>
          <p:cNvGrpSpPr/>
          <p:nvPr/>
        </p:nvGrpSpPr>
        <p:grpSpPr bwMode="auto">
          <a:xfrm>
            <a:off x="1153175" y="2915917"/>
            <a:ext cx="1846263" cy="1839913"/>
            <a:chOff x="884" y="2387"/>
            <a:chExt cx="1163" cy="1159"/>
          </a:xfrm>
          <a:solidFill>
            <a:schemeClr val="accent2"/>
          </a:solidFill>
        </p:grpSpPr>
        <p:sp>
          <p:nvSpPr>
            <p:cNvPr id="12" name="Freeform 5"/>
            <p:cNvSpPr/>
            <p:nvPr/>
          </p:nvSpPr>
          <p:spPr bwMode="auto">
            <a:xfrm>
              <a:off x="1429" y="2387"/>
              <a:ext cx="618" cy="1156"/>
            </a:xfrm>
            <a:custGeom>
              <a:avLst/>
              <a:gdLst>
                <a:gd name="T0" fmla="*/ 112 w 618"/>
                <a:gd name="T1" fmla="*/ 1084 h 1156"/>
                <a:gd name="T2" fmla="*/ 367 w 618"/>
                <a:gd name="T3" fmla="*/ 974 h 1156"/>
                <a:gd name="T4" fmla="*/ 517 w 618"/>
                <a:gd name="T5" fmla="*/ 748 h 1156"/>
                <a:gd name="T6" fmla="*/ 544 w 618"/>
                <a:gd name="T7" fmla="*/ 506 h 1156"/>
                <a:gd name="T8" fmla="*/ 434 w 618"/>
                <a:gd name="T9" fmla="*/ 251 h 1156"/>
                <a:gd name="T10" fmla="*/ 227 w 618"/>
                <a:gd name="T11" fmla="*/ 104 h 1156"/>
                <a:gd name="T12" fmla="*/ 0 w 618"/>
                <a:gd name="T13" fmla="*/ 74 h 1156"/>
                <a:gd name="T14" fmla="*/ 50 w 618"/>
                <a:gd name="T15" fmla="*/ 160 h 1156"/>
                <a:gd name="T16" fmla="*/ 77 w 618"/>
                <a:gd name="T17" fmla="*/ 162 h 1156"/>
                <a:gd name="T18" fmla="*/ 97 w 618"/>
                <a:gd name="T19" fmla="*/ 164 h 1156"/>
                <a:gd name="T20" fmla="*/ 117 w 618"/>
                <a:gd name="T21" fmla="*/ 169 h 1156"/>
                <a:gd name="T22" fmla="*/ 139 w 618"/>
                <a:gd name="T23" fmla="*/ 174 h 1156"/>
                <a:gd name="T24" fmla="*/ 160 w 618"/>
                <a:gd name="T25" fmla="*/ 179 h 1156"/>
                <a:gd name="T26" fmla="*/ 184 w 618"/>
                <a:gd name="T27" fmla="*/ 187 h 1156"/>
                <a:gd name="T28" fmla="*/ 209 w 618"/>
                <a:gd name="T29" fmla="*/ 195 h 1156"/>
                <a:gd name="T30" fmla="*/ 232 w 618"/>
                <a:gd name="T31" fmla="*/ 207 h 1156"/>
                <a:gd name="T32" fmla="*/ 257 w 618"/>
                <a:gd name="T33" fmla="*/ 221 h 1156"/>
                <a:gd name="T34" fmla="*/ 280 w 618"/>
                <a:gd name="T35" fmla="*/ 237 h 1156"/>
                <a:gd name="T36" fmla="*/ 304 w 618"/>
                <a:gd name="T37" fmla="*/ 256 h 1156"/>
                <a:gd name="T38" fmla="*/ 325 w 618"/>
                <a:gd name="T39" fmla="*/ 277 h 1156"/>
                <a:gd name="T40" fmla="*/ 344 w 618"/>
                <a:gd name="T41" fmla="*/ 296 h 1156"/>
                <a:gd name="T42" fmla="*/ 361 w 618"/>
                <a:gd name="T43" fmla="*/ 314 h 1156"/>
                <a:gd name="T44" fmla="*/ 376 w 618"/>
                <a:gd name="T45" fmla="*/ 332 h 1156"/>
                <a:gd name="T46" fmla="*/ 389 w 618"/>
                <a:gd name="T47" fmla="*/ 351 h 1156"/>
                <a:gd name="T48" fmla="*/ 401 w 618"/>
                <a:gd name="T49" fmla="*/ 371 h 1156"/>
                <a:gd name="T50" fmla="*/ 411 w 618"/>
                <a:gd name="T51" fmla="*/ 391 h 1156"/>
                <a:gd name="T52" fmla="*/ 421 w 618"/>
                <a:gd name="T53" fmla="*/ 411 h 1156"/>
                <a:gd name="T54" fmla="*/ 429 w 618"/>
                <a:gd name="T55" fmla="*/ 431 h 1156"/>
                <a:gd name="T56" fmla="*/ 436 w 618"/>
                <a:gd name="T57" fmla="*/ 451 h 1156"/>
                <a:gd name="T58" fmla="*/ 441 w 618"/>
                <a:gd name="T59" fmla="*/ 469 h 1156"/>
                <a:gd name="T60" fmla="*/ 444 w 618"/>
                <a:gd name="T61" fmla="*/ 489 h 1156"/>
                <a:gd name="T62" fmla="*/ 449 w 618"/>
                <a:gd name="T63" fmla="*/ 509 h 1156"/>
                <a:gd name="T64" fmla="*/ 452 w 618"/>
                <a:gd name="T65" fmla="*/ 526 h 1156"/>
                <a:gd name="T66" fmla="*/ 454 w 618"/>
                <a:gd name="T67" fmla="*/ 544 h 1156"/>
                <a:gd name="T68" fmla="*/ 457 w 618"/>
                <a:gd name="T69" fmla="*/ 573 h 1156"/>
                <a:gd name="T70" fmla="*/ 457 w 618"/>
                <a:gd name="T71" fmla="*/ 591 h 1156"/>
                <a:gd name="T72" fmla="*/ 456 w 618"/>
                <a:gd name="T73" fmla="*/ 616 h 1156"/>
                <a:gd name="T74" fmla="*/ 449 w 618"/>
                <a:gd name="T75" fmla="*/ 645 h 1156"/>
                <a:gd name="T76" fmla="*/ 446 w 618"/>
                <a:gd name="T77" fmla="*/ 663 h 1156"/>
                <a:gd name="T78" fmla="*/ 441 w 618"/>
                <a:gd name="T79" fmla="*/ 683 h 1156"/>
                <a:gd name="T80" fmla="*/ 436 w 618"/>
                <a:gd name="T81" fmla="*/ 705 h 1156"/>
                <a:gd name="T82" fmla="*/ 427 w 618"/>
                <a:gd name="T83" fmla="*/ 725 h 1156"/>
                <a:gd name="T84" fmla="*/ 419 w 618"/>
                <a:gd name="T85" fmla="*/ 748 h 1156"/>
                <a:gd name="T86" fmla="*/ 409 w 618"/>
                <a:gd name="T87" fmla="*/ 771 h 1156"/>
                <a:gd name="T88" fmla="*/ 397 w 618"/>
                <a:gd name="T89" fmla="*/ 793 h 1156"/>
                <a:gd name="T90" fmla="*/ 384 w 618"/>
                <a:gd name="T91" fmla="*/ 815 h 1156"/>
                <a:gd name="T92" fmla="*/ 367 w 618"/>
                <a:gd name="T93" fmla="*/ 837 h 1156"/>
                <a:gd name="T94" fmla="*/ 351 w 618"/>
                <a:gd name="T95" fmla="*/ 858 h 1156"/>
                <a:gd name="T96" fmla="*/ 334 w 618"/>
                <a:gd name="T97" fmla="*/ 873 h 1156"/>
                <a:gd name="T98" fmla="*/ 320 w 618"/>
                <a:gd name="T99" fmla="*/ 885 h 1156"/>
                <a:gd name="T100" fmla="*/ 299 w 618"/>
                <a:gd name="T101" fmla="*/ 903 h 1156"/>
                <a:gd name="T102" fmla="*/ 269 w 618"/>
                <a:gd name="T103" fmla="*/ 925 h 1156"/>
                <a:gd name="T104" fmla="*/ 245 w 618"/>
                <a:gd name="T105" fmla="*/ 940 h 1156"/>
                <a:gd name="T106" fmla="*/ 225 w 618"/>
                <a:gd name="T107" fmla="*/ 950 h 1156"/>
                <a:gd name="T108" fmla="*/ 200 w 618"/>
                <a:gd name="T109" fmla="*/ 962 h 1156"/>
                <a:gd name="T110" fmla="*/ 175 w 618"/>
                <a:gd name="T111" fmla="*/ 970 h 1156"/>
                <a:gd name="T112" fmla="*/ 145 w 618"/>
                <a:gd name="T113" fmla="*/ 979 h 1156"/>
                <a:gd name="T114" fmla="*/ 115 w 618"/>
                <a:gd name="T115" fmla="*/ 987 h 1156"/>
                <a:gd name="T116" fmla="*/ 80 w 618"/>
                <a:gd name="T117" fmla="*/ 992 h 1156"/>
                <a:gd name="T118" fmla="*/ 45 w 618"/>
                <a:gd name="T119" fmla="*/ 995 h 11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18"/>
                <a:gd name="T181" fmla="*/ 0 h 1156"/>
                <a:gd name="T182" fmla="*/ 618 w 618"/>
                <a:gd name="T183" fmla="*/ 1156 h 11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18" h="1156">
                  <a:moveTo>
                    <a:pt x="37" y="997"/>
                  </a:moveTo>
                  <a:lnTo>
                    <a:pt x="40" y="1156"/>
                  </a:lnTo>
                  <a:lnTo>
                    <a:pt x="82" y="1152"/>
                  </a:lnTo>
                  <a:lnTo>
                    <a:pt x="112" y="1084"/>
                  </a:lnTo>
                  <a:lnTo>
                    <a:pt x="220" y="1054"/>
                  </a:lnTo>
                  <a:lnTo>
                    <a:pt x="312" y="1090"/>
                  </a:lnTo>
                  <a:lnTo>
                    <a:pt x="357" y="1062"/>
                  </a:lnTo>
                  <a:lnTo>
                    <a:pt x="367" y="974"/>
                  </a:lnTo>
                  <a:lnTo>
                    <a:pt x="434" y="907"/>
                  </a:lnTo>
                  <a:lnTo>
                    <a:pt x="519" y="903"/>
                  </a:lnTo>
                  <a:lnTo>
                    <a:pt x="558" y="845"/>
                  </a:lnTo>
                  <a:lnTo>
                    <a:pt x="517" y="748"/>
                  </a:lnTo>
                  <a:lnTo>
                    <a:pt x="548" y="655"/>
                  </a:lnTo>
                  <a:lnTo>
                    <a:pt x="614" y="608"/>
                  </a:lnTo>
                  <a:lnTo>
                    <a:pt x="618" y="543"/>
                  </a:lnTo>
                  <a:lnTo>
                    <a:pt x="544" y="506"/>
                  </a:lnTo>
                  <a:lnTo>
                    <a:pt x="514" y="399"/>
                  </a:lnTo>
                  <a:lnTo>
                    <a:pt x="551" y="302"/>
                  </a:lnTo>
                  <a:lnTo>
                    <a:pt x="527" y="264"/>
                  </a:lnTo>
                  <a:lnTo>
                    <a:pt x="434" y="251"/>
                  </a:lnTo>
                  <a:lnTo>
                    <a:pt x="372" y="192"/>
                  </a:lnTo>
                  <a:lnTo>
                    <a:pt x="367" y="97"/>
                  </a:lnTo>
                  <a:lnTo>
                    <a:pt x="315" y="65"/>
                  </a:lnTo>
                  <a:lnTo>
                    <a:pt x="227" y="104"/>
                  </a:lnTo>
                  <a:lnTo>
                    <a:pt x="115" y="72"/>
                  </a:lnTo>
                  <a:lnTo>
                    <a:pt x="103" y="2"/>
                  </a:lnTo>
                  <a:lnTo>
                    <a:pt x="35" y="0"/>
                  </a:lnTo>
                  <a:lnTo>
                    <a:pt x="0" y="74"/>
                  </a:lnTo>
                  <a:lnTo>
                    <a:pt x="40" y="160"/>
                  </a:lnTo>
                  <a:lnTo>
                    <a:pt x="42" y="160"/>
                  </a:lnTo>
                  <a:lnTo>
                    <a:pt x="47" y="160"/>
                  </a:lnTo>
                  <a:lnTo>
                    <a:pt x="50" y="160"/>
                  </a:lnTo>
                  <a:lnTo>
                    <a:pt x="57" y="160"/>
                  </a:lnTo>
                  <a:lnTo>
                    <a:pt x="62" y="160"/>
                  </a:lnTo>
                  <a:lnTo>
                    <a:pt x="68" y="162"/>
                  </a:lnTo>
                  <a:lnTo>
                    <a:pt x="77" y="162"/>
                  </a:lnTo>
                  <a:lnTo>
                    <a:pt x="83" y="162"/>
                  </a:lnTo>
                  <a:lnTo>
                    <a:pt x="88" y="162"/>
                  </a:lnTo>
                  <a:lnTo>
                    <a:pt x="93" y="164"/>
                  </a:lnTo>
                  <a:lnTo>
                    <a:pt x="97" y="164"/>
                  </a:lnTo>
                  <a:lnTo>
                    <a:pt x="102" y="165"/>
                  </a:lnTo>
                  <a:lnTo>
                    <a:pt x="107" y="165"/>
                  </a:lnTo>
                  <a:lnTo>
                    <a:pt x="112" y="167"/>
                  </a:lnTo>
                  <a:lnTo>
                    <a:pt x="117" y="169"/>
                  </a:lnTo>
                  <a:lnTo>
                    <a:pt x="122" y="170"/>
                  </a:lnTo>
                  <a:lnTo>
                    <a:pt x="127" y="170"/>
                  </a:lnTo>
                  <a:lnTo>
                    <a:pt x="132" y="172"/>
                  </a:lnTo>
                  <a:lnTo>
                    <a:pt x="139" y="174"/>
                  </a:lnTo>
                  <a:lnTo>
                    <a:pt x="144" y="175"/>
                  </a:lnTo>
                  <a:lnTo>
                    <a:pt x="149" y="175"/>
                  </a:lnTo>
                  <a:lnTo>
                    <a:pt x="155" y="177"/>
                  </a:lnTo>
                  <a:lnTo>
                    <a:pt x="160" y="179"/>
                  </a:lnTo>
                  <a:lnTo>
                    <a:pt x="167" y="180"/>
                  </a:lnTo>
                  <a:lnTo>
                    <a:pt x="172" y="182"/>
                  </a:lnTo>
                  <a:lnTo>
                    <a:pt x="179" y="185"/>
                  </a:lnTo>
                  <a:lnTo>
                    <a:pt x="184" y="187"/>
                  </a:lnTo>
                  <a:lnTo>
                    <a:pt x="190" y="190"/>
                  </a:lnTo>
                  <a:lnTo>
                    <a:pt x="195" y="192"/>
                  </a:lnTo>
                  <a:lnTo>
                    <a:pt x="202" y="194"/>
                  </a:lnTo>
                  <a:lnTo>
                    <a:pt x="209" y="195"/>
                  </a:lnTo>
                  <a:lnTo>
                    <a:pt x="214" y="199"/>
                  </a:lnTo>
                  <a:lnTo>
                    <a:pt x="220" y="202"/>
                  </a:lnTo>
                  <a:lnTo>
                    <a:pt x="227" y="204"/>
                  </a:lnTo>
                  <a:lnTo>
                    <a:pt x="232" y="207"/>
                  </a:lnTo>
                  <a:lnTo>
                    <a:pt x="240" y="212"/>
                  </a:lnTo>
                  <a:lnTo>
                    <a:pt x="245" y="214"/>
                  </a:lnTo>
                  <a:lnTo>
                    <a:pt x="252" y="217"/>
                  </a:lnTo>
                  <a:lnTo>
                    <a:pt x="257" y="221"/>
                  </a:lnTo>
                  <a:lnTo>
                    <a:pt x="264" y="226"/>
                  </a:lnTo>
                  <a:lnTo>
                    <a:pt x="269" y="227"/>
                  </a:lnTo>
                  <a:lnTo>
                    <a:pt x="275" y="232"/>
                  </a:lnTo>
                  <a:lnTo>
                    <a:pt x="280" y="237"/>
                  </a:lnTo>
                  <a:lnTo>
                    <a:pt x="287" y="242"/>
                  </a:lnTo>
                  <a:lnTo>
                    <a:pt x="292" y="246"/>
                  </a:lnTo>
                  <a:lnTo>
                    <a:pt x="299" y="251"/>
                  </a:lnTo>
                  <a:lnTo>
                    <a:pt x="304" y="256"/>
                  </a:lnTo>
                  <a:lnTo>
                    <a:pt x="309" y="261"/>
                  </a:lnTo>
                  <a:lnTo>
                    <a:pt x="314" y="266"/>
                  </a:lnTo>
                  <a:lnTo>
                    <a:pt x="320" y="271"/>
                  </a:lnTo>
                  <a:lnTo>
                    <a:pt x="325" y="277"/>
                  </a:lnTo>
                  <a:lnTo>
                    <a:pt x="332" y="282"/>
                  </a:lnTo>
                  <a:lnTo>
                    <a:pt x="336" y="287"/>
                  </a:lnTo>
                  <a:lnTo>
                    <a:pt x="341" y="291"/>
                  </a:lnTo>
                  <a:lnTo>
                    <a:pt x="344" y="296"/>
                  </a:lnTo>
                  <a:lnTo>
                    <a:pt x="349" y="299"/>
                  </a:lnTo>
                  <a:lnTo>
                    <a:pt x="354" y="304"/>
                  </a:lnTo>
                  <a:lnTo>
                    <a:pt x="357" y="309"/>
                  </a:lnTo>
                  <a:lnTo>
                    <a:pt x="361" y="314"/>
                  </a:lnTo>
                  <a:lnTo>
                    <a:pt x="366" y="317"/>
                  </a:lnTo>
                  <a:lnTo>
                    <a:pt x="369" y="322"/>
                  </a:lnTo>
                  <a:lnTo>
                    <a:pt x="372" y="327"/>
                  </a:lnTo>
                  <a:lnTo>
                    <a:pt x="376" y="332"/>
                  </a:lnTo>
                  <a:lnTo>
                    <a:pt x="379" y="337"/>
                  </a:lnTo>
                  <a:lnTo>
                    <a:pt x="382" y="342"/>
                  </a:lnTo>
                  <a:lnTo>
                    <a:pt x="386" y="346"/>
                  </a:lnTo>
                  <a:lnTo>
                    <a:pt x="389" y="351"/>
                  </a:lnTo>
                  <a:lnTo>
                    <a:pt x="392" y="356"/>
                  </a:lnTo>
                  <a:lnTo>
                    <a:pt x="396" y="361"/>
                  </a:lnTo>
                  <a:lnTo>
                    <a:pt x="399" y="366"/>
                  </a:lnTo>
                  <a:lnTo>
                    <a:pt x="401" y="371"/>
                  </a:lnTo>
                  <a:lnTo>
                    <a:pt x="404" y="376"/>
                  </a:lnTo>
                  <a:lnTo>
                    <a:pt x="407" y="381"/>
                  </a:lnTo>
                  <a:lnTo>
                    <a:pt x="409" y="386"/>
                  </a:lnTo>
                  <a:lnTo>
                    <a:pt x="411" y="391"/>
                  </a:lnTo>
                  <a:lnTo>
                    <a:pt x="414" y="396"/>
                  </a:lnTo>
                  <a:lnTo>
                    <a:pt x="416" y="401"/>
                  </a:lnTo>
                  <a:lnTo>
                    <a:pt x="419" y="406"/>
                  </a:lnTo>
                  <a:lnTo>
                    <a:pt x="421" y="411"/>
                  </a:lnTo>
                  <a:lnTo>
                    <a:pt x="424" y="416"/>
                  </a:lnTo>
                  <a:lnTo>
                    <a:pt x="424" y="421"/>
                  </a:lnTo>
                  <a:lnTo>
                    <a:pt x="427" y="426"/>
                  </a:lnTo>
                  <a:lnTo>
                    <a:pt x="429" y="431"/>
                  </a:lnTo>
                  <a:lnTo>
                    <a:pt x="431" y="436"/>
                  </a:lnTo>
                  <a:lnTo>
                    <a:pt x="432" y="441"/>
                  </a:lnTo>
                  <a:lnTo>
                    <a:pt x="434" y="446"/>
                  </a:lnTo>
                  <a:lnTo>
                    <a:pt x="436" y="451"/>
                  </a:lnTo>
                  <a:lnTo>
                    <a:pt x="437" y="456"/>
                  </a:lnTo>
                  <a:lnTo>
                    <a:pt x="437" y="461"/>
                  </a:lnTo>
                  <a:lnTo>
                    <a:pt x="439" y="466"/>
                  </a:lnTo>
                  <a:lnTo>
                    <a:pt x="441" y="469"/>
                  </a:lnTo>
                  <a:lnTo>
                    <a:pt x="442" y="476"/>
                  </a:lnTo>
                  <a:lnTo>
                    <a:pt x="444" y="481"/>
                  </a:lnTo>
                  <a:lnTo>
                    <a:pt x="444" y="484"/>
                  </a:lnTo>
                  <a:lnTo>
                    <a:pt x="444" y="489"/>
                  </a:lnTo>
                  <a:lnTo>
                    <a:pt x="446" y="494"/>
                  </a:lnTo>
                  <a:lnTo>
                    <a:pt x="447" y="499"/>
                  </a:lnTo>
                  <a:lnTo>
                    <a:pt x="447" y="504"/>
                  </a:lnTo>
                  <a:lnTo>
                    <a:pt x="449" y="509"/>
                  </a:lnTo>
                  <a:lnTo>
                    <a:pt x="451" y="514"/>
                  </a:lnTo>
                  <a:lnTo>
                    <a:pt x="451" y="518"/>
                  </a:lnTo>
                  <a:lnTo>
                    <a:pt x="451" y="523"/>
                  </a:lnTo>
                  <a:lnTo>
                    <a:pt x="452" y="526"/>
                  </a:lnTo>
                  <a:lnTo>
                    <a:pt x="452" y="531"/>
                  </a:lnTo>
                  <a:lnTo>
                    <a:pt x="452" y="536"/>
                  </a:lnTo>
                  <a:lnTo>
                    <a:pt x="454" y="539"/>
                  </a:lnTo>
                  <a:lnTo>
                    <a:pt x="454" y="544"/>
                  </a:lnTo>
                  <a:lnTo>
                    <a:pt x="456" y="549"/>
                  </a:lnTo>
                  <a:lnTo>
                    <a:pt x="456" y="556"/>
                  </a:lnTo>
                  <a:lnTo>
                    <a:pt x="457" y="566"/>
                  </a:lnTo>
                  <a:lnTo>
                    <a:pt x="457" y="573"/>
                  </a:lnTo>
                  <a:lnTo>
                    <a:pt x="457" y="581"/>
                  </a:lnTo>
                  <a:lnTo>
                    <a:pt x="457" y="584"/>
                  </a:lnTo>
                  <a:lnTo>
                    <a:pt x="457" y="588"/>
                  </a:lnTo>
                  <a:lnTo>
                    <a:pt x="457" y="591"/>
                  </a:lnTo>
                  <a:lnTo>
                    <a:pt x="457" y="598"/>
                  </a:lnTo>
                  <a:lnTo>
                    <a:pt x="457" y="603"/>
                  </a:lnTo>
                  <a:lnTo>
                    <a:pt x="456" y="610"/>
                  </a:lnTo>
                  <a:lnTo>
                    <a:pt x="456" y="616"/>
                  </a:lnTo>
                  <a:lnTo>
                    <a:pt x="454" y="625"/>
                  </a:lnTo>
                  <a:lnTo>
                    <a:pt x="452" y="631"/>
                  </a:lnTo>
                  <a:lnTo>
                    <a:pt x="451" y="640"/>
                  </a:lnTo>
                  <a:lnTo>
                    <a:pt x="449" y="645"/>
                  </a:lnTo>
                  <a:lnTo>
                    <a:pt x="449" y="650"/>
                  </a:lnTo>
                  <a:lnTo>
                    <a:pt x="447" y="655"/>
                  </a:lnTo>
                  <a:lnTo>
                    <a:pt x="447" y="658"/>
                  </a:lnTo>
                  <a:lnTo>
                    <a:pt x="446" y="663"/>
                  </a:lnTo>
                  <a:lnTo>
                    <a:pt x="446" y="668"/>
                  </a:lnTo>
                  <a:lnTo>
                    <a:pt x="444" y="673"/>
                  </a:lnTo>
                  <a:lnTo>
                    <a:pt x="444" y="678"/>
                  </a:lnTo>
                  <a:lnTo>
                    <a:pt x="441" y="683"/>
                  </a:lnTo>
                  <a:lnTo>
                    <a:pt x="441" y="690"/>
                  </a:lnTo>
                  <a:lnTo>
                    <a:pt x="439" y="695"/>
                  </a:lnTo>
                  <a:lnTo>
                    <a:pt x="439" y="700"/>
                  </a:lnTo>
                  <a:lnTo>
                    <a:pt x="436" y="705"/>
                  </a:lnTo>
                  <a:lnTo>
                    <a:pt x="434" y="710"/>
                  </a:lnTo>
                  <a:lnTo>
                    <a:pt x="432" y="715"/>
                  </a:lnTo>
                  <a:lnTo>
                    <a:pt x="431" y="721"/>
                  </a:lnTo>
                  <a:lnTo>
                    <a:pt x="427" y="725"/>
                  </a:lnTo>
                  <a:lnTo>
                    <a:pt x="427" y="731"/>
                  </a:lnTo>
                  <a:lnTo>
                    <a:pt x="424" y="736"/>
                  </a:lnTo>
                  <a:lnTo>
                    <a:pt x="422" y="743"/>
                  </a:lnTo>
                  <a:lnTo>
                    <a:pt x="419" y="748"/>
                  </a:lnTo>
                  <a:lnTo>
                    <a:pt x="417" y="755"/>
                  </a:lnTo>
                  <a:lnTo>
                    <a:pt x="414" y="758"/>
                  </a:lnTo>
                  <a:lnTo>
                    <a:pt x="412" y="765"/>
                  </a:lnTo>
                  <a:lnTo>
                    <a:pt x="409" y="771"/>
                  </a:lnTo>
                  <a:lnTo>
                    <a:pt x="407" y="777"/>
                  </a:lnTo>
                  <a:lnTo>
                    <a:pt x="404" y="782"/>
                  </a:lnTo>
                  <a:lnTo>
                    <a:pt x="401" y="788"/>
                  </a:lnTo>
                  <a:lnTo>
                    <a:pt x="397" y="793"/>
                  </a:lnTo>
                  <a:lnTo>
                    <a:pt x="394" y="798"/>
                  </a:lnTo>
                  <a:lnTo>
                    <a:pt x="391" y="805"/>
                  </a:lnTo>
                  <a:lnTo>
                    <a:pt x="387" y="810"/>
                  </a:lnTo>
                  <a:lnTo>
                    <a:pt x="384" y="815"/>
                  </a:lnTo>
                  <a:lnTo>
                    <a:pt x="379" y="822"/>
                  </a:lnTo>
                  <a:lnTo>
                    <a:pt x="376" y="827"/>
                  </a:lnTo>
                  <a:lnTo>
                    <a:pt x="372" y="832"/>
                  </a:lnTo>
                  <a:lnTo>
                    <a:pt x="367" y="837"/>
                  </a:lnTo>
                  <a:lnTo>
                    <a:pt x="364" y="843"/>
                  </a:lnTo>
                  <a:lnTo>
                    <a:pt x="359" y="847"/>
                  </a:lnTo>
                  <a:lnTo>
                    <a:pt x="356" y="853"/>
                  </a:lnTo>
                  <a:lnTo>
                    <a:pt x="351" y="858"/>
                  </a:lnTo>
                  <a:lnTo>
                    <a:pt x="346" y="862"/>
                  </a:lnTo>
                  <a:lnTo>
                    <a:pt x="341" y="867"/>
                  </a:lnTo>
                  <a:lnTo>
                    <a:pt x="336" y="873"/>
                  </a:lnTo>
                  <a:lnTo>
                    <a:pt x="334" y="873"/>
                  </a:lnTo>
                  <a:lnTo>
                    <a:pt x="331" y="877"/>
                  </a:lnTo>
                  <a:lnTo>
                    <a:pt x="327" y="880"/>
                  </a:lnTo>
                  <a:lnTo>
                    <a:pt x="325" y="882"/>
                  </a:lnTo>
                  <a:lnTo>
                    <a:pt x="320" y="885"/>
                  </a:lnTo>
                  <a:lnTo>
                    <a:pt x="317" y="890"/>
                  </a:lnTo>
                  <a:lnTo>
                    <a:pt x="310" y="893"/>
                  </a:lnTo>
                  <a:lnTo>
                    <a:pt x="305" y="898"/>
                  </a:lnTo>
                  <a:lnTo>
                    <a:pt x="299" y="903"/>
                  </a:lnTo>
                  <a:lnTo>
                    <a:pt x="294" y="910"/>
                  </a:lnTo>
                  <a:lnTo>
                    <a:pt x="285" y="913"/>
                  </a:lnTo>
                  <a:lnTo>
                    <a:pt x="277" y="920"/>
                  </a:lnTo>
                  <a:lnTo>
                    <a:pt x="269" y="925"/>
                  </a:lnTo>
                  <a:lnTo>
                    <a:pt x="260" y="932"/>
                  </a:lnTo>
                  <a:lnTo>
                    <a:pt x="255" y="933"/>
                  </a:lnTo>
                  <a:lnTo>
                    <a:pt x="250" y="937"/>
                  </a:lnTo>
                  <a:lnTo>
                    <a:pt x="245" y="940"/>
                  </a:lnTo>
                  <a:lnTo>
                    <a:pt x="242" y="943"/>
                  </a:lnTo>
                  <a:lnTo>
                    <a:pt x="235" y="945"/>
                  </a:lnTo>
                  <a:lnTo>
                    <a:pt x="230" y="947"/>
                  </a:lnTo>
                  <a:lnTo>
                    <a:pt x="225" y="950"/>
                  </a:lnTo>
                  <a:lnTo>
                    <a:pt x="219" y="953"/>
                  </a:lnTo>
                  <a:lnTo>
                    <a:pt x="212" y="957"/>
                  </a:lnTo>
                  <a:lnTo>
                    <a:pt x="207" y="959"/>
                  </a:lnTo>
                  <a:lnTo>
                    <a:pt x="200" y="962"/>
                  </a:lnTo>
                  <a:lnTo>
                    <a:pt x="194" y="964"/>
                  </a:lnTo>
                  <a:lnTo>
                    <a:pt x="187" y="965"/>
                  </a:lnTo>
                  <a:lnTo>
                    <a:pt x="180" y="969"/>
                  </a:lnTo>
                  <a:lnTo>
                    <a:pt x="175" y="970"/>
                  </a:lnTo>
                  <a:lnTo>
                    <a:pt x="169" y="974"/>
                  </a:lnTo>
                  <a:lnTo>
                    <a:pt x="160" y="975"/>
                  </a:lnTo>
                  <a:lnTo>
                    <a:pt x="154" y="979"/>
                  </a:lnTo>
                  <a:lnTo>
                    <a:pt x="145" y="979"/>
                  </a:lnTo>
                  <a:lnTo>
                    <a:pt x="139" y="982"/>
                  </a:lnTo>
                  <a:lnTo>
                    <a:pt x="130" y="984"/>
                  </a:lnTo>
                  <a:lnTo>
                    <a:pt x="124" y="985"/>
                  </a:lnTo>
                  <a:lnTo>
                    <a:pt x="115" y="987"/>
                  </a:lnTo>
                  <a:lnTo>
                    <a:pt x="107" y="989"/>
                  </a:lnTo>
                  <a:lnTo>
                    <a:pt x="98" y="989"/>
                  </a:lnTo>
                  <a:lnTo>
                    <a:pt x="90" y="990"/>
                  </a:lnTo>
                  <a:lnTo>
                    <a:pt x="80" y="992"/>
                  </a:lnTo>
                  <a:lnTo>
                    <a:pt x="73" y="994"/>
                  </a:lnTo>
                  <a:lnTo>
                    <a:pt x="63" y="994"/>
                  </a:lnTo>
                  <a:lnTo>
                    <a:pt x="55" y="995"/>
                  </a:lnTo>
                  <a:lnTo>
                    <a:pt x="45" y="995"/>
                  </a:lnTo>
                  <a:lnTo>
                    <a:pt x="37" y="9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3" name="Freeform 6"/>
            <p:cNvSpPr/>
            <p:nvPr/>
          </p:nvSpPr>
          <p:spPr bwMode="auto">
            <a:xfrm>
              <a:off x="884" y="2387"/>
              <a:ext cx="617" cy="1159"/>
            </a:xfrm>
            <a:custGeom>
              <a:avLst/>
              <a:gdLst>
                <a:gd name="T0" fmla="*/ 395 w 617"/>
                <a:gd name="T1" fmla="*/ 102 h 1159"/>
                <a:gd name="T2" fmla="*/ 108 w 617"/>
                <a:gd name="T3" fmla="*/ 232 h 1159"/>
                <a:gd name="T4" fmla="*/ 1 w 617"/>
                <a:gd name="T5" fmla="*/ 519 h 1159"/>
                <a:gd name="T6" fmla="*/ 0 w 617"/>
                <a:gd name="T7" fmla="*/ 556 h 1159"/>
                <a:gd name="T8" fmla="*/ 0 w 617"/>
                <a:gd name="T9" fmla="*/ 593 h 1159"/>
                <a:gd name="T10" fmla="*/ 0 w 617"/>
                <a:gd name="T11" fmla="*/ 630 h 1159"/>
                <a:gd name="T12" fmla="*/ 183 w 617"/>
                <a:gd name="T13" fmla="*/ 905 h 1159"/>
                <a:gd name="T14" fmla="*/ 502 w 617"/>
                <a:gd name="T15" fmla="*/ 1084 h 1159"/>
                <a:gd name="T16" fmla="*/ 575 w 617"/>
                <a:gd name="T17" fmla="*/ 997 h 1159"/>
                <a:gd name="T18" fmla="*/ 545 w 617"/>
                <a:gd name="T19" fmla="*/ 995 h 1159"/>
                <a:gd name="T20" fmla="*/ 515 w 617"/>
                <a:gd name="T21" fmla="*/ 990 h 1159"/>
                <a:gd name="T22" fmla="*/ 492 w 617"/>
                <a:gd name="T23" fmla="*/ 985 h 1159"/>
                <a:gd name="T24" fmla="*/ 464 w 617"/>
                <a:gd name="T25" fmla="*/ 979 h 1159"/>
                <a:gd name="T26" fmla="*/ 435 w 617"/>
                <a:gd name="T27" fmla="*/ 970 h 1159"/>
                <a:gd name="T28" fmla="*/ 403 w 617"/>
                <a:gd name="T29" fmla="*/ 959 h 1159"/>
                <a:gd name="T30" fmla="*/ 373 w 617"/>
                <a:gd name="T31" fmla="*/ 943 h 1159"/>
                <a:gd name="T32" fmla="*/ 342 w 617"/>
                <a:gd name="T33" fmla="*/ 925 h 1159"/>
                <a:gd name="T34" fmla="*/ 313 w 617"/>
                <a:gd name="T35" fmla="*/ 903 h 1159"/>
                <a:gd name="T36" fmla="*/ 287 w 617"/>
                <a:gd name="T37" fmla="*/ 877 h 1159"/>
                <a:gd name="T38" fmla="*/ 263 w 617"/>
                <a:gd name="T39" fmla="*/ 855 h 1159"/>
                <a:gd name="T40" fmla="*/ 243 w 617"/>
                <a:gd name="T41" fmla="*/ 832 h 1159"/>
                <a:gd name="T42" fmla="*/ 227 w 617"/>
                <a:gd name="T43" fmla="*/ 808 h 1159"/>
                <a:gd name="T44" fmla="*/ 210 w 617"/>
                <a:gd name="T45" fmla="*/ 783 h 1159"/>
                <a:gd name="T46" fmla="*/ 198 w 617"/>
                <a:gd name="T47" fmla="*/ 758 h 1159"/>
                <a:gd name="T48" fmla="*/ 188 w 617"/>
                <a:gd name="T49" fmla="*/ 733 h 1159"/>
                <a:gd name="T50" fmla="*/ 180 w 617"/>
                <a:gd name="T51" fmla="*/ 708 h 1159"/>
                <a:gd name="T52" fmla="*/ 173 w 617"/>
                <a:gd name="T53" fmla="*/ 683 h 1159"/>
                <a:gd name="T54" fmla="*/ 166 w 617"/>
                <a:gd name="T55" fmla="*/ 660 h 1159"/>
                <a:gd name="T56" fmla="*/ 163 w 617"/>
                <a:gd name="T57" fmla="*/ 636 h 1159"/>
                <a:gd name="T58" fmla="*/ 160 w 617"/>
                <a:gd name="T59" fmla="*/ 605 h 1159"/>
                <a:gd name="T60" fmla="*/ 158 w 617"/>
                <a:gd name="T61" fmla="*/ 569 h 1159"/>
                <a:gd name="T62" fmla="*/ 158 w 617"/>
                <a:gd name="T63" fmla="*/ 544 h 1159"/>
                <a:gd name="T64" fmla="*/ 163 w 617"/>
                <a:gd name="T65" fmla="*/ 509 h 1159"/>
                <a:gd name="T66" fmla="*/ 168 w 617"/>
                <a:gd name="T67" fmla="*/ 484 h 1159"/>
                <a:gd name="T68" fmla="*/ 175 w 617"/>
                <a:gd name="T69" fmla="*/ 461 h 1159"/>
                <a:gd name="T70" fmla="*/ 183 w 617"/>
                <a:gd name="T71" fmla="*/ 434 h 1159"/>
                <a:gd name="T72" fmla="*/ 193 w 617"/>
                <a:gd name="T73" fmla="*/ 404 h 1159"/>
                <a:gd name="T74" fmla="*/ 206 w 617"/>
                <a:gd name="T75" fmla="*/ 377 h 1159"/>
                <a:gd name="T76" fmla="*/ 223 w 617"/>
                <a:gd name="T77" fmla="*/ 349 h 1159"/>
                <a:gd name="T78" fmla="*/ 242 w 617"/>
                <a:gd name="T79" fmla="*/ 324 h 1159"/>
                <a:gd name="T80" fmla="*/ 265 w 617"/>
                <a:gd name="T81" fmla="*/ 299 h 1159"/>
                <a:gd name="T82" fmla="*/ 285 w 617"/>
                <a:gd name="T83" fmla="*/ 281 h 1159"/>
                <a:gd name="T84" fmla="*/ 303 w 617"/>
                <a:gd name="T85" fmla="*/ 261 h 1159"/>
                <a:gd name="T86" fmla="*/ 337 w 617"/>
                <a:gd name="T87" fmla="*/ 236 h 1159"/>
                <a:gd name="T88" fmla="*/ 358 w 617"/>
                <a:gd name="T89" fmla="*/ 222 h 1159"/>
                <a:gd name="T90" fmla="*/ 383 w 617"/>
                <a:gd name="T91" fmla="*/ 207 h 1159"/>
                <a:gd name="T92" fmla="*/ 413 w 617"/>
                <a:gd name="T93" fmla="*/ 192 h 1159"/>
                <a:gd name="T94" fmla="*/ 447 w 617"/>
                <a:gd name="T95" fmla="*/ 182 h 1159"/>
                <a:gd name="T96" fmla="*/ 484 w 617"/>
                <a:gd name="T97" fmla="*/ 170 h 1159"/>
                <a:gd name="T98" fmla="*/ 525 w 617"/>
                <a:gd name="T99" fmla="*/ 164 h 1159"/>
                <a:gd name="T100" fmla="*/ 569 w 617"/>
                <a:gd name="T101" fmla="*/ 160 h 11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17"/>
                <a:gd name="T154" fmla="*/ 0 h 1159"/>
                <a:gd name="T155" fmla="*/ 617 w 617"/>
                <a:gd name="T156" fmla="*/ 1159 h 115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17" h="1159">
                  <a:moveTo>
                    <a:pt x="579" y="160"/>
                  </a:moveTo>
                  <a:lnTo>
                    <a:pt x="577" y="0"/>
                  </a:lnTo>
                  <a:lnTo>
                    <a:pt x="524" y="0"/>
                  </a:lnTo>
                  <a:lnTo>
                    <a:pt x="504" y="72"/>
                  </a:lnTo>
                  <a:lnTo>
                    <a:pt x="395" y="102"/>
                  </a:lnTo>
                  <a:lnTo>
                    <a:pt x="323" y="52"/>
                  </a:lnTo>
                  <a:lnTo>
                    <a:pt x="245" y="100"/>
                  </a:lnTo>
                  <a:lnTo>
                    <a:pt x="248" y="182"/>
                  </a:lnTo>
                  <a:lnTo>
                    <a:pt x="190" y="246"/>
                  </a:lnTo>
                  <a:lnTo>
                    <a:pt x="108" y="232"/>
                  </a:lnTo>
                  <a:lnTo>
                    <a:pt x="55" y="322"/>
                  </a:lnTo>
                  <a:lnTo>
                    <a:pt x="101" y="389"/>
                  </a:lnTo>
                  <a:lnTo>
                    <a:pt x="70" y="503"/>
                  </a:lnTo>
                  <a:lnTo>
                    <a:pt x="1" y="514"/>
                  </a:lnTo>
                  <a:lnTo>
                    <a:pt x="1" y="519"/>
                  </a:lnTo>
                  <a:lnTo>
                    <a:pt x="0" y="528"/>
                  </a:lnTo>
                  <a:lnTo>
                    <a:pt x="0" y="534"/>
                  </a:lnTo>
                  <a:lnTo>
                    <a:pt x="0" y="541"/>
                  </a:lnTo>
                  <a:lnTo>
                    <a:pt x="0" y="549"/>
                  </a:lnTo>
                  <a:lnTo>
                    <a:pt x="0" y="556"/>
                  </a:lnTo>
                  <a:lnTo>
                    <a:pt x="0" y="563"/>
                  </a:lnTo>
                  <a:lnTo>
                    <a:pt x="0" y="571"/>
                  </a:lnTo>
                  <a:lnTo>
                    <a:pt x="0" y="578"/>
                  </a:lnTo>
                  <a:lnTo>
                    <a:pt x="0" y="586"/>
                  </a:lnTo>
                  <a:lnTo>
                    <a:pt x="0" y="593"/>
                  </a:lnTo>
                  <a:lnTo>
                    <a:pt x="0" y="600"/>
                  </a:lnTo>
                  <a:lnTo>
                    <a:pt x="0" y="606"/>
                  </a:lnTo>
                  <a:lnTo>
                    <a:pt x="0" y="615"/>
                  </a:lnTo>
                  <a:lnTo>
                    <a:pt x="0" y="621"/>
                  </a:lnTo>
                  <a:lnTo>
                    <a:pt x="0" y="630"/>
                  </a:lnTo>
                  <a:lnTo>
                    <a:pt x="71" y="650"/>
                  </a:lnTo>
                  <a:lnTo>
                    <a:pt x="101" y="758"/>
                  </a:lnTo>
                  <a:lnTo>
                    <a:pt x="60" y="842"/>
                  </a:lnTo>
                  <a:lnTo>
                    <a:pt x="83" y="887"/>
                  </a:lnTo>
                  <a:lnTo>
                    <a:pt x="183" y="905"/>
                  </a:lnTo>
                  <a:lnTo>
                    <a:pt x="243" y="964"/>
                  </a:lnTo>
                  <a:lnTo>
                    <a:pt x="252" y="1060"/>
                  </a:lnTo>
                  <a:lnTo>
                    <a:pt x="300" y="1090"/>
                  </a:lnTo>
                  <a:lnTo>
                    <a:pt x="388" y="1052"/>
                  </a:lnTo>
                  <a:lnTo>
                    <a:pt x="502" y="1084"/>
                  </a:lnTo>
                  <a:lnTo>
                    <a:pt x="547" y="1159"/>
                  </a:lnTo>
                  <a:lnTo>
                    <a:pt x="580" y="1156"/>
                  </a:lnTo>
                  <a:lnTo>
                    <a:pt x="617" y="1082"/>
                  </a:lnTo>
                  <a:lnTo>
                    <a:pt x="577" y="997"/>
                  </a:lnTo>
                  <a:lnTo>
                    <a:pt x="575" y="997"/>
                  </a:lnTo>
                  <a:lnTo>
                    <a:pt x="569" y="997"/>
                  </a:lnTo>
                  <a:lnTo>
                    <a:pt x="562" y="997"/>
                  </a:lnTo>
                  <a:lnTo>
                    <a:pt x="559" y="997"/>
                  </a:lnTo>
                  <a:lnTo>
                    <a:pt x="552" y="995"/>
                  </a:lnTo>
                  <a:lnTo>
                    <a:pt x="545" y="995"/>
                  </a:lnTo>
                  <a:lnTo>
                    <a:pt x="539" y="994"/>
                  </a:lnTo>
                  <a:lnTo>
                    <a:pt x="530" y="992"/>
                  </a:lnTo>
                  <a:lnTo>
                    <a:pt x="525" y="992"/>
                  </a:lnTo>
                  <a:lnTo>
                    <a:pt x="520" y="990"/>
                  </a:lnTo>
                  <a:lnTo>
                    <a:pt x="515" y="990"/>
                  </a:lnTo>
                  <a:lnTo>
                    <a:pt x="512" y="990"/>
                  </a:lnTo>
                  <a:lnTo>
                    <a:pt x="507" y="989"/>
                  </a:lnTo>
                  <a:lnTo>
                    <a:pt x="502" y="987"/>
                  </a:lnTo>
                  <a:lnTo>
                    <a:pt x="495" y="987"/>
                  </a:lnTo>
                  <a:lnTo>
                    <a:pt x="492" y="985"/>
                  </a:lnTo>
                  <a:lnTo>
                    <a:pt x="485" y="984"/>
                  </a:lnTo>
                  <a:lnTo>
                    <a:pt x="480" y="984"/>
                  </a:lnTo>
                  <a:lnTo>
                    <a:pt x="475" y="982"/>
                  </a:lnTo>
                  <a:lnTo>
                    <a:pt x="470" y="980"/>
                  </a:lnTo>
                  <a:lnTo>
                    <a:pt x="464" y="979"/>
                  </a:lnTo>
                  <a:lnTo>
                    <a:pt x="459" y="977"/>
                  </a:lnTo>
                  <a:lnTo>
                    <a:pt x="452" y="975"/>
                  </a:lnTo>
                  <a:lnTo>
                    <a:pt x="447" y="974"/>
                  </a:lnTo>
                  <a:lnTo>
                    <a:pt x="440" y="972"/>
                  </a:lnTo>
                  <a:lnTo>
                    <a:pt x="435" y="970"/>
                  </a:lnTo>
                  <a:lnTo>
                    <a:pt x="429" y="967"/>
                  </a:lnTo>
                  <a:lnTo>
                    <a:pt x="423" y="965"/>
                  </a:lnTo>
                  <a:lnTo>
                    <a:pt x="417" y="962"/>
                  </a:lnTo>
                  <a:lnTo>
                    <a:pt x="410" y="960"/>
                  </a:lnTo>
                  <a:lnTo>
                    <a:pt x="403" y="959"/>
                  </a:lnTo>
                  <a:lnTo>
                    <a:pt x="398" y="955"/>
                  </a:lnTo>
                  <a:lnTo>
                    <a:pt x="392" y="952"/>
                  </a:lnTo>
                  <a:lnTo>
                    <a:pt x="385" y="948"/>
                  </a:lnTo>
                  <a:lnTo>
                    <a:pt x="378" y="945"/>
                  </a:lnTo>
                  <a:lnTo>
                    <a:pt x="373" y="943"/>
                  </a:lnTo>
                  <a:lnTo>
                    <a:pt x="367" y="940"/>
                  </a:lnTo>
                  <a:lnTo>
                    <a:pt x="360" y="937"/>
                  </a:lnTo>
                  <a:lnTo>
                    <a:pt x="355" y="932"/>
                  </a:lnTo>
                  <a:lnTo>
                    <a:pt x="348" y="928"/>
                  </a:lnTo>
                  <a:lnTo>
                    <a:pt x="342" y="925"/>
                  </a:lnTo>
                  <a:lnTo>
                    <a:pt x="337" y="920"/>
                  </a:lnTo>
                  <a:lnTo>
                    <a:pt x="330" y="917"/>
                  </a:lnTo>
                  <a:lnTo>
                    <a:pt x="325" y="912"/>
                  </a:lnTo>
                  <a:lnTo>
                    <a:pt x="318" y="908"/>
                  </a:lnTo>
                  <a:lnTo>
                    <a:pt x="313" y="903"/>
                  </a:lnTo>
                  <a:lnTo>
                    <a:pt x="307" y="898"/>
                  </a:lnTo>
                  <a:lnTo>
                    <a:pt x="303" y="893"/>
                  </a:lnTo>
                  <a:lnTo>
                    <a:pt x="297" y="888"/>
                  </a:lnTo>
                  <a:lnTo>
                    <a:pt x="292" y="883"/>
                  </a:lnTo>
                  <a:lnTo>
                    <a:pt x="287" y="877"/>
                  </a:lnTo>
                  <a:lnTo>
                    <a:pt x="282" y="873"/>
                  </a:lnTo>
                  <a:lnTo>
                    <a:pt x="277" y="868"/>
                  </a:lnTo>
                  <a:lnTo>
                    <a:pt x="273" y="863"/>
                  </a:lnTo>
                  <a:lnTo>
                    <a:pt x="268" y="858"/>
                  </a:lnTo>
                  <a:lnTo>
                    <a:pt x="263" y="855"/>
                  </a:lnTo>
                  <a:lnTo>
                    <a:pt x="258" y="850"/>
                  </a:lnTo>
                  <a:lnTo>
                    <a:pt x="255" y="845"/>
                  </a:lnTo>
                  <a:lnTo>
                    <a:pt x="252" y="842"/>
                  </a:lnTo>
                  <a:lnTo>
                    <a:pt x="248" y="837"/>
                  </a:lnTo>
                  <a:lnTo>
                    <a:pt x="243" y="832"/>
                  </a:lnTo>
                  <a:lnTo>
                    <a:pt x="240" y="827"/>
                  </a:lnTo>
                  <a:lnTo>
                    <a:pt x="237" y="823"/>
                  </a:lnTo>
                  <a:lnTo>
                    <a:pt x="233" y="818"/>
                  </a:lnTo>
                  <a:lnTo>
                    <a:pt x="230" y="813"/>
                  </a:lnTo>
                  <a:lnTo>
                    <a:pt x="227" y="808"/>
                  </a:lnTo>
                  <a:lnTo>
                    <a:pt x="223" y="803"/>
                  </a:lnTo>
                  <a:lnTo>
                    <a:pt x="222" y="798"/>
                  </a:lnTo>
                  <a:lnTo>
                    <a:pt x="217" y="793"/>
                  </a:lnTo>
                  <a:lnTo>
                    <a:pt x="213" y="788"/>
                  </a:lnTo>
                  <a:lnTo>
                    <a:pt x="210" y="783"/>
                  </a:lnTo>
                  <a:lnTo>
                    <a:pt x="208" y="778"/>
                  </a:lnTo>
                  <a:lnTo>
                    <a:pt x="206" y="773"/>
                  </a:lnTo>
                  <a:lnTo>
                    <a:pt x="203" y="768"/>
                  </a:lnTo>
                  <a:lnTo>
                    <a:pt x="201" y="763"/>
                  </a:lnTo>
                  <a:lnTo>
                    <a:pt x="198" y="758"/>
                  </a:lnTo>
                  <a:lnTo>
                    <a:pt x="196" y="753"/>
                  </a:lnTo>
                  <a:lnTo>
                    <a:pt x="193" y="748"/>
                  </a:lnTo>
                  <a:lnTo>
                    <a:pt x="191" y="743"/>
                  </a:lnTo>
                  <a:lnTo>
                    <a:pt x="190" y="738"/>
                  </a:lnTo>
                  <a:lnTo>
                    <a:pt x="188" y="733"/>
                  </a:lnTo>
                  <a:lnTo>
                    <a:pt x="186" y="728"/>
                  </a:lnTo>
                  <a:lnTo>
                    <a:pt x="185" y="723"/>
                  </a:lnTo>
                  <a:lnTo>
                    <a:pt x="183" y="720"/>
                  </a:lnTo>
                  <a:lnTo>
                    <a:pt x="181" y="713"/>
                  </a:lnTo>
                  <a:lnTo>
                    <a:pt x="180" y="708"/>
                  </a:lnTo>
                  <a:lnTo>
                    <a:pt x="178" y="703"/>
                  </a:lnTo>
                  <a:lnTo>
                    <a:pt x="176" y="698"/>
                  </a:lnTo>
                  <a:lnTo>
                    <a:pt x="175" y="693"/>
                  </a:lnTo>
                  <a:lnTo>
                    <a:pt x="175" y="688"/>
                  </a:lnTo>
                  <a:lnTo>
                    <a:pt x="173" y="683"/>
                  </a:lnTo>
                  <a:lnTo>
                    <a:pt x="171" y="678"/>
                  </a:lnTo>
                  <a:lnTo>
                    <a:pt x="170" y="673"/>
                  </a:lnTo>
                  <a:lnTo>
                    <a:pt x="170" y="670"/>
                  </a:lnTo>
                  <a:lnTo>
                    <a:pt x="168" y="665"/>
                  </a:lnTo>
                  <a:lnTo>
                    <a:pt x="166" y="660"/>
                  </a:lnTo>
                  <a:lnTo>
                    <a:pt x="166" y="655"/>
                  </a:lnTo>
                  <a:lnTo>
                    <a:pt x="165" y="650"/>
                  </a:lnTo>
                  <a:lnTo>
                    <a:pt x="165" y="645"/>
                  </a:lnTo>
                  <a:lnTo>
                    <a:pt x="165" y="641"/>
                  </a:lnTo>
                  <a:lnTo>
                    <a:pt x="163" y="636"/>
                  </a:lnTo>
                  <a:lnTo>
                    <a:pt x="161" y="631"/>
                  </a:lnTo>
                  <a:lnTo>
                    <a:pt x="161" y="626"/>
                  </a:lnTo>
                  <a:lnTo>
                    <a:pt x="161" y="621"/>
                  </a:lnTo>
                  <a:lnTo>
                    <a:pt x="160" y="613"/>
                  </a:lnTo>
                  <a:lnTo>
                    <a:pt x="160" y="605"/>
                  </a:lnTo>
                  <a:lnTo>
                    <a:pt x="158" y="596"/>
                  </a:lnTo>
                  <a:lnTo>
                    <a:pt x="158" y="588"/>
                  </a:lnTo>
                  <a:lnTo>
                    <a:pt x="158" y="581"/>
                  </a:lnTo>
                  <a:lnTo>
                    <a:pt x="158" y="574"/>
                  </a:lnTo>
                  <a:lnTo>
                    <a:pt x="158" y="569"/>
                  </a:lnTo>
                  <a:lnTo>
                    <a:pt x="158" y="566"/>
                  </a:lnTo>
                  <a:lnTo>
                    <a:pt x="158" y="561"/>
                  </a:lnTo>
                  <a:lnTo>
                    <a:pt x="158" y="556"/>
                  </a:lnTo>
                  <a:lnTo>
                    <a:pt x="158" y="551"/>
                  </a:lnTo>
                  <a:lnTo>
                    <a:pt x="158" y="544"/>
                  </a:lnTo>
                  <a:lnTo>
                    <a:pt x="160" y="538"/>
                  </a:lnTo>
                  <a:lnTo>
                    <a:pt x="161" y="531"/>
                  </a:lnTo>
                  <a:lnTo>
                    <a:pt x="161" y="521"/>
                  </a:lnTo>
                  <a:lnTo>
                    <a:pt x="163" y="514"/>
                  </a:lnTo>
                  <a:lnTo>
                    <a:pt x="163" y="509"/>
                  </a:lnTo>
                  <a:lnTo>
                    <a:pt x="165" y="504"/>
                  </a:lnTo>
                  <a:lnTo>
                    <a:pt x="165" y="499"/>
                  </a:lnTo>
                  <a:lnTo>
                    <a:pt x="166" y="496"/>
                  </a:lnTo>
                  <a:lnTo>
                    <a:pt x="166" y="489"/>
                  </a:lnTo>
                  <a:lnTo>
                    <a:pt x="168" y="484"/>
                  </a:lnTo>
                  <a:lnTo>
                    <a:pt x="170" y="481"/>
                  </a:lnTo>
                  <a:lnTo>
                    <a:pt x="171" y="476"/>
                  </a:lnTo>
                  <a:lnTo>
                    <a:pt x="171" y="469"/>
                  </a:lnTo>
                  <a:lnTo>
                    <a:pt x="173" y="466"/>
                  </a:lnTo>
                  <a:lnTo>
                    <a:pt x="175" y="461"/>
                  </a:lnTo>
                  <a:lnTo>
                    <a:pt x="176" y="456"/>
                  </a:lnTo>
                  <a:lnTo>
                    <a:pt x="178" y="449"/>
                  </a:lnTo>
                  <a:lnTo>
                    <a:pt x="180" y="444"/>
                  </a:lnTo>
                  <a:lnTo>
                    <a:pt x="181" y="438"/>
                  </a:lnTo>
                  <a:lnTo>
                    <a:pt x="183" y="434"/>
                  </a:lnTo>
                  <a:lnTo>
                    <a:pt x="185" y="428"/>
                  </a:lnTo>
                  <a:lnTo>
                    <a:pt x="186" y="423"/>
                  </a:lnTo>
                  <a:lnTo>
                    <a:pt x="190" y="416"/>
                  </a:lnTo>
                  <a:lnTo>
                    <a:pt x="191" y="411"/>
                  </a:lnTo>
                  <a:lnTo>
                    <a:pt x="193" y="404"/>
                  </a:lnTo>
                  <a:lnTo>
                    <a:pt x="196" y="399"/>
                  </a:lnTo>
                  <a:lnTo>
                    <a:pt x="198" y="394"/>
                  </a:lnTo>
                  <a:lnTo>
                    <a:pt x="201" y="389"/>
                  </a:lnTo>
                  <a:lnTo>
                    <a:pt x="203" y="382"/>
                  </a:lnTo>
                  <a:lnTo>
                    <a:pt x="206" y="377"/>
                  </a:lnTo>
                  <a:lnTo>
                    <a:pt x="210" y="372"/>
                  </a:lnTo>
                  <a:lnTo>
                    <a:pt x="213" y="367"/>
                  </a:lnTo>
                  <a:lnTo>
                    <a:pt x="217" y="361"/>
                  </a:lnTo>
                  <a:lnTo>
                    <a:pt x="220" y="356"/>
                  </a:lnTo>
                  <a:lnTo>
                    <a:pt x="223" y="349"/>
                  </a:lnTo>
                  <a:lnTo>
                    <a:pt x="227" y="346"/>
                  </a:lnTo>
                  <a:lnTo>
                    <a:pt x="230" y="339"/>
                  </a:lnTo>
                  <a:lnTo>
                    <a:pt x="233" y="334"/>
                  </a:lnTo>
                  <a:lnTo>
                    <a:pt x="238" y="329"/>
                  </a:lnTo>
                  <a:lnTo>
                    <a:pt x="242" y="324"/>
                  </a:lnTo>
                  <a:lnTo>
                    <a:pt x="247" y="317"/>
                  </a:lnTo>
                  <a:lnTo>
                    <a:pt x="250" y="314"/>
                  </a:lnTo>
                  <a:lnTo>
                    <a:pt x="255" y="309"/>
                  </a:lnTo>
                  <a:lnTo>
                    <a:pt x="260" y="304"/>
                  </a:lnTo>
                  <a:lnTo>
                    <a:pt x="265" y="299"/>
                  </a:lnTo>
                  <a:lnTo>
                    <a:pt x="270" y="294"/>
                  </a:lnTo>
                  <a:lnTo>
                    <a:pt x="275" y="289"/>
                  </a:lnTo>
                  <a:lnTo>
                    <a:pt x="280" y="286"/>
                  </a:lnTo>
                  <a:lnTo>
                    <a:pt x="282" y="284"/>
                  </a:lnTo>
                  <a:lnTo>
                    <a:pt x="285" y="281"/>
                  </a:lnTo>
                  <a:lnTo>
                    <a:pt x="287" y="277"/>
                  </a:lnTo>
                  <a:lnTo>
                    <a:pt x="290" y="274"/>
                  </a:lnTo>
                  <a:lnTo>
                    <a:pt x="293" y="269"/>
                  </a:lnTo>
                  <a:lnTo>
                    <a:pt x="298" y="266"/>
                  </a:lnTo>
                  <a:lnTo>
                    <a:pt x="303" y="261"/>
                  </a:lnTo>
                  <a:lnTo>
                    <a:pt x="308" y="257"/>
                  </a:lnTo>
                  <a:lnTo>
                    <a:pt x="315" y="251"/>
                  </a:lnTo>
                  <a:lnTo>
                    <a:pt x="322" y="246"/>
                  </a:lnTo>
                  <a:lnTo>
                    <a:pt x="328" y="241"/>
                  </a:lnTo>
                  <a:lnTo>
                    <a:pt x="337" y="236"/>
                  </a:lnTo>
                  <a:lnTo>
                    <a:pt x="340" y="232"/>
                  </a:lnTo>
                  <a:lnTo>
                    <a:pt x="345" y="229"/>
                  </a:lnTo>
                  <a:lnTo>
                    <a:pt x="350" y="227"/>
                  </a:lnTo>
                  <a:lnTo>
                    <a:pt x="355" y="226"/>
                  </a:lnTo>
                  <a:lnTo>
                    <a:pt x="358" y="222"/>
                  </a:lnTo>
                  <a:lnTo>
                    <a:pt x="363" y="219"/>
                  </a:lnTo>
                  <a:lnTo>
                    <a:pt x="368" y="216"/>
                  </a:lnTo>
                  <a:lnTo>
                    <a:pt x="373" y="212"/>
                  </a:lnTo>
                  <a:lnTo>
                    <a:pt x="378" y="210"/>
                  </a:lnTo>
                  <a:lnTo>
                    <a:pt x="383" y="207"/>
                  </a:lnTo>
                  <a:lnTo>
                    <a:pt x="390" y="204"/>
                  </a:lnTo>
                  <a:lnTo>
                    <a:pt x="395" y="202"/>
                  </a:lnTo>
                  <a:lnTo>
                    <a:pt x="402" y="199"/>
                  </a:lnTo>
                  <a:lnTo>
                    <a:pt x="407" y="195"/>
                  </a:lnTo>
                  <a:lnTo>
                    <a:pt x="413" y="192"/>
                  </a:lnTo>
                  <a:lnTo>
                    <a:pt x="420" y="190"/>
                  </a:lnTo>
                  <a:lnTo>
                    <a:pt x="425" y="189"/>
                  </a:lnTo>
                  <a:lnTo>
                    <a:pt x="434" y="185"/>
                  </a:lnTo>
                  <a:lnTo>
                    <a:pt x="440" y="184"/>
                  </a:lnTo>
                  <a:lnTo>
                    <a:pt x="447" y="182"/>
                  </a:lnTo>
                  <a:lnTo>
                    <a:pt x="454" y="179"/>
                  </a:lnTo>
                  <a:lnTo>
                    <a:pt x="460" y="177"/>
                  </a:lnTo>
                  <a:lnTo>
                    <a:pt x="469" y="175"/>
                  </a:lnTo>
                  <a:lnTo>
                    <a:pt x="475" y="174"/>
                  </a:lnTo>
                  <a:lnTo>
                    <a:pt x="484" y="170"/>
                  </a:lnTo>
                  <a:lnTo>
                    <a:pt x="492" y="169"/>
                  </a:lnTo>
                  <a:lnTo>
                    <a:pt x="499" y="167"/>
                  </a:lnTo>
                  <a:lnTo>
                    <a:pt x="509" y="167"/>
                  </a:lnTo>
                  <a:lnTo>
                    <a:pt x="515" y="164"/>
                  </a:lnTo>
                  <a:lnTo>
                    <a:pt x="525" y="164"/>
                  </a:lnTo>
                  <a:lnTo>
                    <a:pt x="532" y="162"/>
                  </a:lnTo>
                  <a:lnTo>
                    <a:pt x="542" y="162"/>
                  </a:lnTo>
                  <a:lnTo>
                    <a:pt x="550" y="160"/>
                  </a:lnTo>
                  <a:lnTo>
                    <a:pt x="559" y="160"/>
                  </a:lnTo>
                  <a:lnTo>
                    <a:pt x="569" y="160"/>
                  </a:lnTo>
                  <a:lnTo>
                    <a:pt x="579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6" name="Group 10"/>
          <p:cNvGrpSpPr/>
          <p:nvPr/>
        </p:nvGrpSpPr>
        <p:grpSpPr bwMode="auto">
          <a:xfrm>
            <a:off x="141827" y="3590186"/>
            <a:ext cx="2176463" cy="2198688"/>
            <a:chOff x="567" y="754"/>
            <a:chExt cx="1371" cy="1385"/>
          </a:xfrm>
          <a:solidFill>
            <a:schemeClr val="accent3"/>
          </a:solidFill>
        </p:grpSpPr>
        <p:sp>
          <p:nvSpPr>
            <p:cNvPr id="8" name="Freeform 11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9" name="Freeform 12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4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cxnSp>
        <p:nvCxnSpPr>
          <p:cNvPr id="3" name="直接连接符 2"/>
          <p:cNvCxnSpPr/>
          <p:nvPr/>
        </p:nvCxnSpPr>
        <p:spPr>
          <a:xfrm>
            <a:off x="5235575" y="2039620"/>
            <a:ext cx="1905" cy="2474595"/>
          </a:xfrm>
          <a:prstGeom prst="line">
            <a:avLst/>
          </a:prstGeom>
          <a:noFill/>
          <a:ln w="127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</p:cxnSp>
      <p:grpSp>
        <p:nvGrpSpPr>
          <p:cNvPr id="29" name="组合 28"/>
          <p:cNvGrpSpPr/>
          <p:nvPr/>
        </p:nvGrpSpPr>
        <p:grpSpPr>
          <a:xfrm>
            <a:off x="4929378" y="1683033"/>
            <a:ext cx="611989" cy="611989"/>
            <a:chOff x="3714631" y="870654"/>
            <a:chExt cx="612068" cy="612068"/>
          </a:xfrm>
          <a:solidFill>
            <a:srgbClr val="E5AB74"/>
          </a:solidFill>
        </p:grpSpPr>
        <p:sp>
          <p:nvSpPr>
            <p:cNvPr id="30" name="椭圆 29"/>
            <p:cNvSpPr/>
            <p:nvPr/>
          </p:nvSpPr>
          <p:spPr>
            <a:xfrm>
              <a:off x="3714631" y="870654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31" name="TextBox 50"/>
            <p:cNvSpPr txBox="1"/>
            <p:nvPr/>
          </p:nvSpPr>
          <p:spPr>
            <a:xfrm>
              <a:off x="3817696" y="1022799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1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47" name="矩形 46"/>
          <p:cNvSpPr/>
          <p:nvPr/>
        </p:nvSpPr>
        <p:spPr>
          <a:xfrm>
            <a:off x="5660925" y="183610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案例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7" name="直接连接符 6"/>
          <p:cNvCxnSpPr/>
          <p:nvPr/>
        </p:nvCxnSpPr>
        <p:spPr>
          <a:xfrm>
            <a:off x="5238115" y="2682240"/>
            <a:ext cx="1051560" cy="15240"/>
          </a:xfrm>
          <a:prstGeom prst="line">
            <a:avLst/>
          </a:prstGeom>
          <a:ln w="12700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/>
        </p:nvCxnSpPr>
        <p:spPr>
          <a:xfrm>
            <a:off x="5235575" y="3119755"/>
            <a:ext cx="1051560" cy="15240"/>
          </a:xfrm>
          <a:prstGeom prst="line">
            <a:avLst/>
          </a:prstGeom>
          <a:ln w="12700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连接符 14"/>
          <p:cNvCxnSpPr/>
          <p:nvPr/>
        </p:nvCxnSpPr>
        <p:spPr>
          <a:xfrm>
            <a:off x="5235575" y="3575050"/>
            <a:ext cx="1051560" cy="15240"/>
          </a:xfrm>
          <a:prstGeom prst="line">
            <a:avLst/>
          </a:prstGeom>
          <a:ln w="12700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/>
          <p:cNvCxnSpPr/>
          <p:nvPr/>
        </p:nvCxnSpPr>
        <p:spPr>
          <a:xfrm>
            <a:off x="5235575" y="4083685"/>
            <a:ext cx="1051560" cy="15240"/>
          </a:xfrm>
          <a:prstGeom prst="line">
            <a:avLst/>
          </a:prstGeom>
          <a:ln w="12700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矩形 22"/>
          <p:cNvSpPr/>
          <p:nvPr/>
        </p:nvSpPr>
        <p:spPr>
          <a:xfrm>
            <a:off x="6287035" y="3414078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列表页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6287035" y="392271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详情页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6289575" y="4413568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修改页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矩形 25"/>
          <p:cNvSpPr/>
          <p:nvPr/>
        </p:nvSpPr>
        <p:spPr>
          <a:xfrm>
            <a:off x="6289575" y="252063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主  页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6289575" y="295878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页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8" name="直接连接符 27"/>
          <p:cNvCxnSpPr/>
          <p:nvPr/>
        </p:nvCxnSpPr>
        <p:spPr>
          <a:xfrm>
            <a:off x="5235575" y="4519295"/>
            <a:ext cx="1051560" cy="15240"/>
          </a:xfrm>
          <a:prstGeom prst="line">
            <a:avLst/>
          </a:prstGeom>
          <a:ln w="12700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浏览器中的</a:t>
            </a:r>
            <a:r>
              <a:rPr lang="en-US" altLang="zh-CN" dirty="0"/>
              <a:t>----cookie:</a:t>
            </a:r>
            <a:endParaRPr lang="en-US" altLang="zh-CN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65045" y="1108075"/>
            <a:ext cx="5581015" cy="342836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27860" y="4620895"/>
            <a:ext cx="6562090" cy="1790700"/>
          </a:xfrm>
          <a:prstGeom prst="rect">
            <a:avLst/>
          </a:prstGeom>
        </p:spPr>
      </p:pic>
    </p:spTree>
    <p:custDataLst>
      <p:tags r:id="rId8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服务器中设置</a:t>
            </a:r>
            <a:r>
              <a:rPr lang="en-US" altLang="zh-CN" dirty="0"/>
              <a:t>cookie</a:t>
            </a:r>
            <a:r>
              <a:rPr lang="zh-CN" altLang="en-US" dirty="0"/>
              <a:t>及获取</a:t>
            </a:r>
            <a:r>
              <a:rPr lang="en-US" altLang="zh-CN" dirty="0"/>
              <a:t>cookie:</a:t>
            </a:r>
            <a:endParaRPr lang="en-US" altLang="zh-CN" dirty="0"/>
          </a:p>
        </p:txBody>
      </p:sp>
      <p:sp>
        <p:nvSpPr>
          <p:cNvPr id="12" name="圆角矩形 11"/>
          <p:cNvSpPr/>
          <p:nvPr/>
        </p:nvSpPr>
        <p:spPr>
          <a:xfrm>
            <a:off x="8850313" y="1466390"/>
            <a:ext cx="2766432" cy="4244340"/>
          </a:xfrm>
          <a:prstGeom prst="round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fontAlgn="auto">
              <a:lnSpc>
                <a:spcPct val="150000"/>
              </a:lnSpc>
            </a:pPr>
            <a:r>
              <a:rPr lang="zh-CN" altLang="en-US" sz="2000" dirty="0"/>
              <a:t>注意</a:t>
            </a:r>
            <a:r>
              <a:rPr lang="en-US" altLang="zh-CN" sz="2000" dirty="0"/>
              <a:t>:</a:t>
            </a:r>
            <a:r>
              <a:rPr lang="zh-CN" altLang="en-US" sz="2000" dirty="0"/>
              <a:t>设置</a:t>
            </a:r>
            <a:r>
              <a:rPr lang="en-US" altLang="zh-CN" sz="2000" dirty="0"/>
              <a:t>cookie</a:t>
            </a:r>
            <a:r>
              <a:rPr lang="zh-CN" altLang="en-US" sz="2000" dirty="0"/>
              <a:t>值以及删除</a:t>
            </a:r>
            <a:r>
              <a:rPr lang="en-US" altLang="zh-CN" sz="2000" dirty="0"/>
              <a:t>cookie</a:t>
            </a:r>
            <a:r>
              <a:rPr lang="zh-CN" altLang="en-US" sz="2000" dirty="0"/>
              <a:t>值都是</a:t>
            </a:r>
            <a:r>
              <a:rPr lang="en-US" altLang="zh-CN" sz="2000" dirty="0"/>
              <a:t>response</a:t>
            </a:r>
            <a:r>
              <a:rPr lang="zh-CN" altLang="en-US" sz="2000" dirty="0"/>
              <a:t>对象的操作</a:t>
            </a:r>
            <a:r>
              <a:rPr lang="en-US" altLang="zh-CN" sz="2000" dirty="0"/>
              <a:t>,</a:t>
            </a:r>
            <a:r>
              <a:rPr lang="zh-CN" altLang="en-US" sz="2000" dirty="0"/>
              <a:t>而获取</a:t>
            </a:r>
            <a:r>
              <a:rPr lang="en-US" altLang="zh-CN" sz="2000" dirty="0"/>
              <a:t>cookie</a:t>
            </a:r>
            <a:r>
              <a:rPr lang="zh-CN" altLang="en-US" sz="2000" dirty="0"/>
              <a:t>是从</a:t>
            </a:r>
            <a:r>
              <a:rPr lang="en-US" altLang="zh-CN" sz="2000" dirty="0"/>
              <a:t>requeset</a:t>
            </a:r>
            <a:r>
              <a:rPr lang="zh-CN" altLang="en-US" sz="2000" dirty="0"/>
              <a:t>相应中获得的</a:t>
            </a:r>
            <a:r>
              <a:rPr lang="en-US" altLang="zh-CN" sz="2000" dirty="0"/>
              <a:t>.</a:t>
            </a:r>
            <a:endParaRPr lang="en-US" altLang="zh-CN" sz="2000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0390" y="1466390"/>
            <a:ext cx="8022635" cy="4244340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ldLvl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51815" y="2440305"/>
            <a:ext cx="6636385" cy="2423795"/>
          </a:xfrm>
        </p:spPr>
        <p:txBody>
          <a:bodyPr>
            <a:normAutofit fontScale="90000"/>
          </a:bodyPr>
          <a:lstStyle/>
          <a:p>
            <a:pPr algn="l"/>
            <a:r>
              <a:rPr lang="zh-CN" altLang="en-US" sz="4000" dirty="0">
                <a:latin typeface="+mn-ea"/>
                <a:ea typeface="+mn-ea"/>
              </a:rPr>
              <a:t>虽然</a:t>
            </a:r>
            <a:r>
              <a:rPr lang="en-US" altLang="zh-CN" sz="4000" dirty="0">
                <a:latin typeface="+mn-ea"/>
                <a:ea typeface="+mn-ea"/>
              </a:rPr>
              <a:t>cookie</a:t>
            </a:r>
            <a:r>
              <a:rPr lang="zh-CN" altLang="en-US" sz="4000" dirty="0">
                <a:latin typeface="+mn-ea"/>
                <a:ea typeface="+mn-ea"/>
              </a:rPr>
              <a:t>可以保存状态</a:t>
            </a:r>
            <a:br>
              <a:rPr lang="zh-CN" altLang="en-US" sz="4000" dirty="0">
                <a:latin typeface="+mn-ea"/>
                <a:ea typeface="+mn-ea"/>
              </a:rPr>
            </a:br>
            <a:r>
              <a:rPr lang="zh-CN" altLang="en-US" sz="4000" dirty="0">
                <a:latin typeface="+mn-ea"/>
                <a:ea typeface="+mn-ea"/>
              </a:rPr>
              <a:t>但注意不要存储敏感信息</a:t>
            </a:r>
            <a:r>
              <a:rPr lang="en-US" altLang="zh-CN" sz="4000" dirty="0">
                <a:latin typeface="+mn-ea"/>
                <a:ea typeface="+mn-ea"/>
              </a:rPr>
              <a:t>.</a:t>
            </a:r>
            <a:br>
              <a:rPr lang="en-US" altLang="zh-CN" sz="4000" dirty="0">
                <a:latin typeface="+mn-ea"/>
                <a:ea typeface="+mn-ea"/>
              </a:rPr>
            </a:br>
            <a:r>
              <a:rPr lang="zh-CN" altLang="en-US" sz="4000" dirty="0">
                <a:latin typeface="+mn-ea"/>
                <a:ea typeface="+mn-ea"/>
              </a:rPr>
              <a:t>想要了解</a:t>
            </a:r>
            <a:r>
              <a:rPr lang="en-US" altLang="zh-CN" sz="4000" dirty="0">
                <a:latin typeface="+mn-ea"/>
                <a:ea typeface="+mn-ea"/>
              </a:rPr>
              <a:t>状</a:t>
            </a:r>
            <a:r>
              <a:rPr lang="zh-CN" altLang="en-US" sz="4000" dirty="0">
                <a:latin typeface="+mn-ea"/>
                <a:ea typeface="+mn-ea"/>
              </a:rPr>
              <a:t>态保持的另一种方式</a:t>
            </a:r>
            <a:r>
              <a:rPr lang="en-US" altLang="zh-CN" sz="4000" dirty="0">
                <a:latin typeface="+mn-ea"/>
                <a:ea typeface="+mn-ea"/>
              </a:rPr>
              <a:t>,</a:t>
            </a:r>
            <a:br>
              <a:rPr lang="zh-CN" altLang="en-US" sz="4000" dirty="0">
                <a:latin typeface="+mn-ea"/>
                <a:ea typeface="+mn-ea"/>
              </a:rPr>
            </a:br>
            <a:r>
              <a:rPr lang="zh-CN" altLang="en-US" sz="4000" dirty="0">
                <a:latin typeface="+mn-ea"/>
                <a:ea typeface="+mn-ea"/>
              </a:rPr>
              <a:t>请关注明天的课程内容</a:t>
            </a:r>
            <a:r>
              <a:rPr lang="en-US" altLang="zh-CN" sz="4000" dirty="0">
                <a:latin typeface="+mn-ea"/>
                <a:ea typeface="+mn-ea"/>
              </a:rPr>
              <a:t>!!!!!</a:t>
            </a:r>
            <a:endParaRPr lang="en-US" altLang="zh-CN" sz="4000" dirty="0">
              <a:latin typeface="+mn-ea"/>
              <a:ea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作业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6" name="AutoShape 4"/>
          <p:cNvSpPr>
            <a:spLocks noChangeArrowheads="1"/>
          </p:cNvSpPr>
          <p:nvPr>
            <p:custDataLst>
              <p:tags r:id="rId8"/>
            </p:custDataLst>
          </p:nvPr>
        </p:nvSpPr>
        <p:spPr bwMode="white">
          <a:xfrm>
            <a:off x="918210" y="2240915"/>
            <a:ext cx="9558020" cy="2911475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chemeClr val="accent1"/>
            </a:solidFill>
            <a:prstDash val="solid"/>
          </a:ln>
          <a:effectLst/>
        </p:spPr>
        <p:txBody>
          <a:bodyPr anchor="ctr"/>
          <a:lstStyle/>
          <a:p>
            <a:pPr marL="0" lvl="2" algn="ctr" defTabSz="913765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5890" algn="l"/>
              </a:tabLst>
              <a:defRPr/>
            </a:pPr>
            <a:endParaRPr lang="zh-CN" altLang="en-US" sz="1865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AutoShape 3"/>
          <p:cNvSpPr>
            <a:spLocks noChangeArrowheads="1"/>
          </p:cNvSpPr>
          <p:nvPr/>
        </p:nvSpPr>
        <p:spPr bwMode="auto">
          <a:xfrm>
            <a:off x="1300454" y="1966715"/>
            <a:ext cx="3482805" cy="671705"/>
          </a:xfrm>
          <a:prstGeom prst="roundRect">
            <a:avLst/>
          </a:prstGeom>
          <a:solidFill>
            <a:srgbClr val="E76861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3765" eaLnBrk="0" fontAlgn="ctr" hangingPunct="0">
              <a:buClr>
                <a:srgbClr val="FF0000"/>
              </a:buClr>
              <a:buSzPct val="70000"/>
              <a:defRPr/>
            </a:pPr>
            <a:endParaRPr lang="zh-CN" altLang="zh-CN" sz="2135" b="1" ker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142251" y="3004610"/>
            <a:ext cx="5368925" cy="17532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fontAlgn="auto">
              <a:lnSpc>
                <a:spcPct val="150000"/>
              </a:lnSpc>
            </a:pPr>
            <a:r>
              <a:rPr lang="en-US" altLang="zh-CN" sz="2400" dirty="0"/>
              <a:t>1.</a:t>
            </a:r>
            <a:r>
              <a:rPr lang="zh-CN" altLang="en-US" sz="2400" dirty="0"/>
              <a:t>分别实现</a:t>
            </a:r>
            <a:r>
              <a:rPr lang="en-US" altLang="zh-CN" sz="2400" dirty="0"/>
              <a:t>get</a:t>
            </a:r>
            <a:r>
              <a:rPr lang="zh-CN" altLang="en-US" sz="2400" dirty="0"/>
              <a:t>方式和</a:t>
            </a:r>
            <a:r>
              <a:rPr lang="en-US" altLang="zh-CN" sz="2400" dirty="0"/>
              <a:t>post</a:t>
            </a:r>
            <a:r>
              <a:rPr lang="zh-CN" altLang="en-US" sz="2400" dirty="0"/>
              <a:t>方式传递参数</a:t>
            </a:r>
            <a:r>
              <a:rPr lang="en-US" altLang="zh-CN" sz="2400" dirty="0"/>
              <a:t>.</a:t>
            </a:r>
            <a:endParaRPr lang="zh-CN" altLang="en-US" sz="2400" dirty="0"/>
          </a:p>
          <a:p>
            <a:pPr algn="l" fontAlgn="auto">
              <a:lnSpc>
                <a:spcPct val="150000"/>
              </a:lnSpc>
            </a:pPr>
            <a:r>
              <a:rPr lang="en-US" altLang="zh-CN" sz="2400" dirty="0"/>
              <a:t>2.</a:t>
            </a:r>
            <a:r>
              <a:rPr lang="zh-CN" altLang="en-US" sz="2400" dirty="0"/>
              <a:t>实现文件上传功能</a:t>
            </a:r>
            <a:r>
              <a:rPr lang="en-US" altLang="zh-CN" sz="2400" dirty="0"/>
              <a:t>.</a:t>
            </a:r>
            <a:endParaRPr lang="en-US" altLang="zh-CN" sz="2400" dirty="0"/>
          </a:p>
          <a:p>
            <a:pPr algn="l" fontAlgn="auto">
              <a:lnSpc>
                <a:spcPct val="150000"/>
              </a:lnSpc>
            </a:pPr>
            <a:r>
              <a:rPr lang="en-US" altLang="zh-CN" sz="2400" dirty="0"/>
              <a:t>3.cookie</a:t>
            </a:r>
            <a:r>
              <a:rPr lang="zh-CN" altLang="en-US" sz="2400" dirty="0"/>
              <a:t>的设置获取及删除</a:t>
            </a:r>
            <a:r>
              <a:rPr lang="en-US" altLang="zh-CN" sz="2400" dirty="0"/>
              <a:t>.</a:t>
            </a:r>
            <a:endParaRPr lang="en-US" altLang="zh-CN" sz="2400" dirty="0"/>
          </a:p>
        </p:txBody>
      </p:sp>
      <p:sp>
        <p:nvSpPr>
          <p:cNvPr id="9" name="文本框 8"/>
          <p:cNvSpPr txBox="1"/>
          <p:nvPr/>
        </p:nvSpPr>
        <p:spPr>
          <a:xfrm>
            <a:off x="1049750" y="5586383"/>
            <a:ext cx="9575165" cy="398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 smtClean="0"/>
              <a:t>注</a:t>
            </a:r>
            <a:r>
              <a:rPr lang="en-US" altLang="zh-CN" sz="2000" dirty="0" smtClean="0"/>
              <a:t>: </a:t>
            </a:r>
            <a:r>
              <a:rPr lang="zh-CN" altLang="en-US" sz="2000" dirty="0"/>
              <a:t>作</a:t>
            </a:r>
            <a:r>
              <a:rPr lang="zh-CN" altLang="en-US" sz="2000" dirty="0" smtClean="0"/>
              <a:t>业会在潭州客户端发布</a:t>
            </a:r>
            <a:r>
              <a:rPr lang="en-US" altLang="zh-CN" sz="2000" dirty="0" smtClean="0"/>
              <a:t>,</a:t>
            </a:r>
            <a:r>
              <a:rPr lang="zh-CN" altLang="en-US" sz="2000" dirty="0" smtClean="0"/>
              <a:t>大家将自己的作业截图提交到潭州客户端的作业系统上</a:t>
            </a:r>
            <a:r>
              <a:rPr lang="en-US" altLang="zh-CN" sz="2000" dirty="0" smtClean="0"/>
              <a:t>.</a:t>
            </a:r>
            <a:endParaRPr lang="zh-CN" altLang="en-US" sz="2000" dirty="0"/>
          </a:p>
        </p:txBody>
      </p:sp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900" decel="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ldLvl="0" animBg="1"/>
      <p:bldP spid="7" grpId="0" bldLvl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1"/>
          <a:srcRect l="31501" t="25179" r="7311" b="49953"/>
          <a:stretch>
            <a:fillRect/>
          </a:stretch>
        </p:blipFill>
        <p:spPr>
          <a:xfrm>
            <a:off x="4965527" y="0"/>
            <a:ext cx="7226473" cy="15240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1"/>
          <a:srcRect l="31501" t="24557" r="7311" b="49953"/>
          <a:stretch>
            <a:fillRect/>
          </a:stretch>
        </p:blipFill>
        <p:spPr>
          <a:xfrm flipH="1">
            <a:off x="-1" y="5295900"/>
            <a:ext cx="7226473" cy="156210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647825" y="2828836"/>
            <a:ext cx="88963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7200" dirty="0">
                <a:solidFill>
                  <a:schemeClr val="accent1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THANK </a:t>
            </a:r>
            <a:r>
              <a:rPr lang="en-US" altLang="zh-CN" sz="7200" dirty="0">
                <a:solidFill>
                  <a:schemeClr val="accent2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YOU!</a:t>
            </a:r>
            <a:endParaRPr lang="zh-CN" altLang="en-US" sz="7200" dirty="0">
              <a:solidFill>
                <a:schemeClr val="accent2"/>
              </a:solidFill>
              <a:latin typeface="Narkisim" panose="020E0502050101010101" pitchFamily="34" charset="-79"/>
              <a:cs typeface="Narkisim" panose="020E0502050101010101" pitchFamily="34" charset="-79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组合 18"/>
          <p:cNvGrpSpPr/>
          <p:nvPr/>
        </p:nvGrpSpPr>
        <p:grpSpPr>
          <a:xfrm>
            <a:off x="5138574" y="2427099"/>
            <a:ext cx="5758026" cy="646331"/>
            <a:chOff x="5138574" y="2427099"/>
            <a:chExt cx="5758026" cy="646331"/>
          </a:xfrm>
        </p:grpSpPr>
        <p:sp>
          <p:nvSpPr>
            <p:cNvPr id="9" name="文本框 11"/>
            <p:cNvSpPr txBox="1"/>
            <p:nvPr/>
          </p:nvSpPr>
          <p:spPr>
            <a:xfrm>
              <a:off x="5138574" y="242709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1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6165467" y="242709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HttpRequest对象</a:t>
              </a:r>
              <a:endParaRPr lang="zh-CN" altLang="en-US" sz="24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3" name="组合 2"/>
          <p:cNvGrpSpPr/>
          <p:nvPr/>
        </p:nvGrpSpPr>
        <p:grpSpPr>
          <a:xfrm>
            <a:off x="5138574" y="4410879"/>
            <a:ext cx="5758026" cy="646331"/>
            <a:chOff x="5138574" y="4512479"/>
            <a:chExt cx="5758026" cy="646331"/>
          </a:xfrm>
        </p:grpSpPr>
        <p:sp>
          <p:nvSpPr>
            <p:cNvPr id="12" name="文本框 11"/>
            <p:cNvSpPr txBox="1"/>
            <p:nvPr/>
          </p:nvSpPr>
          <p:spPr>
            <a:xfrm>
              <a:off x="5138574" y="451247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3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3" name="矩形 12"/>
            <p:cNvSpPr/>
            <p:nvPr/>
          </p:nvSpPr>
          <p:spPr>
            <a:xfrm>
              <a:off x="6165467" y="451247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文件上传</a:t>
              </a:r>
              <a:endParaRPr lang="zh-CN" altLang="en-US" sz="24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1"/>
          <a:srcRect l="41221" r="36750"/>
          <a:stretch>
            <a:fillRect/>
          </a:stretch>
        </p:blipFill>
        <p:spPr>
          <a:xfrm flipH="1">
            <a:off x="92075" y="0"/>
            <a:ext cx="2746344" cy="685800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grpSp>
        <p:nvGrpSpPr>
          <p:cNvPr id="2" name="组合 1"/>
          <p:cNvGrpSpPr/>
          <p:nvPr/>
        </p:nvGrpSpPr>
        <p:grpSpPr>
          <a:xfrm>
            <a:off x="5138575" y="3418989"/>
            <a:ext cx="5758029" cy="646331"/>
            <a:chOff x="5138575" y="3469789"/>
            <a:chExt cx="5758029" cy="646331"/>
          </a:xfrm>
        </p:grpSpPr>
        <p:sp>
          <p:nvSpPr>
            <p:cNvPr id="6" name="文本框 14"/>
            <p:cNvSpPr txBox="1"/>
            <p:nvPr/>
          </p:nvSpPr>
          <p:spPr>
            <a:xfrm>
              <a:off x="5138575" y="3469789"/>
              <a:ext cx="697627" cy="64633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2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6165469" y="34697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GET</a:t>
              </a:r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和</a:t>
              </a:r>
              <a:r>
                <a:rPr lang="en-US" altLang="zh-CN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POST</a:t>
              </a:r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请求</a:t>
              </a:r>
              <a:endParaRPr lang="zh-CN" altLang="en-US" sz="2400" b="1" dirty="0">
                <a:solidFill>
                  <a:schemeClr val="accent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16" name="组合 15"/>
          <p:cNvGrpSpPr/>
          <p:nvPr/>
        </p:nvGrpSpPr>
        <p:grpSpPr>
          <a:xfrm>
            <a:off x="5141949" y="5437019"/>
            <a:ext cx="5754655" cy="646331"/>
            <a:chOff x="5141949" y="3469789"/>
            <a:chExt cx="5754655" cy="646331"/>
          </a:xfrm>
        </p:grpSpPr>
        <p:sp>
          <p:nvSpPr>
            <p:cNvPr id="20" name="文本框 14"/>
            <p:cNvSpPr txBox="1"/>
            <p:nvPr/>
          </p:nvSpPr>
          <p:spPr>
            <a:xfrm>
              <a:off x="5141949" y="3470374"/>
              <a:ext cx="690880" cy="64516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4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>
              <a:off x="6165469" y="34697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HttpResponse</a:t>
              </a:r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对象</a:t>
              </a:r>
              <a:endParaRPr lang="zh-CN" altLang="en-US" sz="2400" b="1" dirty="0">
                <a:solidFill>
                  <a:schemeClr val="accent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sp>
        <p:nvSpPr>
          <p:cNvPr id="7" name="文本框 9"/>
          <p:cNvSpPr txBox="1"/>
          <p:nvPr/>
        </p:nvSpPr>
        <p:spPr>
          <a:xfrm>
            <a:off x="2314079" y="754936"/>
            <a:ext cx="3992880" cy="10147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6000" dirty="0">
                <a:solidFill>
                  <a:schemeClr val="accent2"/>
                </a:solidFill>
                <a:latin typeface="Adobe Gothic Std B" panose="020B0800000000000000" pitchFamily="34" charset="-128"/>
              </a:rPr>
              <a:t>请求与响应</a:t>
            </a:r>
            <a:endParaRPr lang="zh-CN" altLang="en-US" sz="6000" dirty="0">
              <a:solidFill>
                <a:schemeClr val="accent2"/>
              </a:solidFill>
              <a:latin typeface="Adobe Gothic Std B" panose="020B0800000000000000" pitchFamily="34" charset="-128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38481" y="2913234"/>
            <a:ext cx="7162800" cy="1502910"/>
          </a:xfrm>
        </p:spPr>
        <p:txBody>
          <a:bodyPr>
            <a:normAutofit/>
          </a:bodyPr>
          <a:lstStyle/>
          <a:p>
            <a:r>
              <a:rPr lang="zh-CN" altLang="en-US" sz="4000" dirty="0">
                <a:latin typeface="+mn-ea"/>
                <a:ea typeface="+mn-ea"/>
              </a:rPr>
              <a:t>视图函数接受到的</a:t>
            </a:r>
            <a:r>
              <a:rPr lang="en-US" altLang="zh-CN" sz="4000" dirty="0">
                <a:latin typeface="+mn-ea"/>
                <a:ea typeface="+mn-ea"/>
              </a:rPr>
              <a:t>request</a:t>
            </a:r>
            <a:r>
              <a:rPr lang="zh-CN" altLang="en-US" sz="4000" dirty="0">
                <a:latin typeface="+mn-ea"/>
                <a:ea typeface="+mn-ea"/>
              </a:rPr>
              <a:t>到底是个什么对象呢</a:t>
            </a:r>
            <a:r>
              <a:rPr lang="en-US" altLang="zh-CN" sz="4000" dirty="0">
                <a:latin typeface="+mn-ea"/>
                <a:ea typeface="+mn-ea"/>
              </a:rPr>
              <a:t>?</a:t>
            </a:r>
            <a:endParaRPr lang="en-US" altLang="zh-CN" sz="4000" dirty="0">
              <a:latin typeface="+mn-ea"/>
              <a:ea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dirty="0"/>
              <a:t>HttpRequest对象</a:t>
            </a:r>
            <a:r>
              <a:rPr lang="en-US" altLang="zh-CN" dirty="0"/>
              <a:t>:</a:t>
            </a:r>
            <a:endParaRPr lang="en-US" altLang="zh-CN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46250" y="2823210"/>
            <a:ext cx="7514590" cy="3161665"/>
          </a:xfrm>
          <a:prstGeom prst="rect">
            <a:avLst/>
          </a:prstGeom>
        </p:spPr>
      </p:pic>
      <p:sp>
        <p:nvSpPr>
          <p:cNvPr id="17" name="圆角矩形 16"/>
          <p:cNvSpPr/>
          <p:nvPr/>
        </p:nvSpPr>
        <p:spPr>
          <a:xfrm>
            <a:off x="1418590" y="1041400"/>
            <a:ext cx="8562975" cy="1630680"/>
          </a:xfrm>
          <a:prstGeom prst="round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服务器接收到http协议的请求后，会根据报文创建HttpRequest对象视图函数的第一个参数是HttpRequest对象在django.http模块中定义了HttpRequest对象的API</a:t>
            </a:r>
            <a:endParaRPr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en-US" altLang="zh-CN" dirty="0"/>
              <a:t>form</a:t>
            </a:r>
            <a:r>
              <a:rPr lang="zh-CN" altLang="en-US" dirty="0"/>
              <a:t>标签中的</a:t>
            </a:r>
            <a:r>
              <a:rPr lang="en-US" altLang="zh-CN" dirty="0"/>
              <a:t>GET</a:t>
            </a:r>
            <a:r>
              <a:rPr lang="zh-CN" altLang="en-US" dirty="0"/>
              <a:t>和</a:t>
            </a:r>
            <a:r>
              <a:rPr lang="en-US" altLang="zh-CN" dirty="0"/>
              <a:t>POST:</a:t>
            </a:r>
            <a:endParaRPr lang="en-US" altLang="zh-CN" dirty="0"/>
          </a:p>
        </p:txBody>
      </p:sp>
      <p:sp>
        <p:nvSpPr>
          <p:cNvPr id="2" name="文本框 1"/>
          <p:cNvSpPr txBox="1"/>
          <p:nvPr/>
        </p:nvSpPr>
        <p:spPr>
          <a:xfrm>
            <a:off x="1824990" y="1047750"/>
            <a:ext cx="7540625" cy="258445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zh-CN" altLang="en-US"/>
              <a:t>在HTML中,</a:t>
            </a:r>
            <a:r>
              <a:rPr lang="en-US" altLang="zh-CN"/>
              <a:t>form</a:t>
            </a:r>
            <a:r>
              <a:rPr lang="zh-CN" altLang="en-US"/>
              <a:t>表单的作用是收集标签中的内容,&lt;form&gt;...&lt;/form&gt; 中间可以由访问者添加类似于文本,选择,或者一些控制模块等等.然后这些内容将会被送到服务端。</a:t>
            </a:r>
            <a:endParaRPr lang="zh-CN" altLang="en-US"/>
          </a:p>
          <a:p>
            <a:endParaRPr lang="zh-CN" altLang="en-US"/>
          </a:p>
          <a:p>
            <a:r>
              <a:rPr lang="zh-CN" altLang="en-US"/>
              <a:t>一个表单必须指定两样东西：</a:t>
            </a:r>
            <a:endParaRPr lang="zh-CN" altLang="en-US"/>
          </a:p>
          <a:p>
            <a:r>
              <a:rPr lang="zh-CN" altLang="en-US"/>
              <a:t>1. form的method参数用于设置表单的提交方式,默认使用POST.</a:t>
            </a:r>
            <a:endParaRPr lang="zh-CN" altLang="en-US"/>
          </a:p>
          <a:p>
            <a:r>
              <a:rPr lang="zh-CN" altLang="en-US"/>
              <a:t>2. action用于设置表单的提交url,如果不写或者保持空字符串,那么将使用当前的URL.</a:t>
            </a:r>
            <a:endParaRPr lang="zh-CN" altLang="en-US"/>
          </a:p>
          <a:p>
            <a:endParaRPr lang="zh-CN" altLang="en-US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24990" y="3556000"/>
            <a:ext cx="7539990" cy="2428875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en-US" altLang="zh-CN" dirty="0"/>
              <a:t>form</a:t>
            </a:r>
            <a:r>
              <a:rPr lang="zh-CN" altLang="en-US" dirty="0"/>
              <a:t>表单使用</a:t>
            </a:r>
            <a:r>
              <a:rPr lang="en-US" altLang="zh-CN" dirty="0"/>
              <a:t>get</a:t>
            </a:r>
            <a:r>
              <a:rPr lang="zh-CN" altLang="en-US" dirty="0"/>
              <a:t>方式提交的例子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2" name="文本框 1"/>
          <p:cNvSpPr txBox="1"/>
          <p:nvPr/>
        </p:nvSpPr>
        <p:spPr>
          <a:xfrm>
            <a:off x="580390" y="1529715"/>
            <a:ext cx="5767705" cy="3683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zh-CN" altLang="en-US"/>
              <a:t>在上面的视图中渲染模板</a:t>
            </a:r>
            <a:r>
              <a:rPr lang="en-US" altLang="zh-CN"/>
              <a:t>,</a:t>
            </a:r>
            <a:r>
              <a:rPr lang="zh-CN" altLang="en-US"/>
              <a:t>下面的视图处理提交的数据</a:t>
            </a:r>
            <a:r>
              <a:rPr lang="en-US" altLang="zh-CN"/>
              <a:t>.</a:t>
            </a:r>
            <a:endParaRPr lang="en-US" altLang="zh-CN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0390" y="1898015"/>
            <a:ext cx="5767705" cy="295211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02400" y="1898015"/>
            <a:ext cx="5238115" cy="571500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6502400" y="1529715"/>
            <a:ext cx="5238750" cy="3683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en-US" altLang="zh-CN"/>
              <a:t>url</a:t>
            </a:r>
            <a:r>
              <a:rPr lang="zh-CN" altLang="en-US"/>
              <a:t>的配置</a:t>
            </a:r>
            <a:endParaRPr lang="zh-CN" altLang="en-US"/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02400" y="2959735"/>
            <a:ext cx="5238750" cy="1952625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6501765" y="2591435"/>
            <a:ext cx="5238750" cy="3683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en-US" altLang="zh-CN"/>
              <a:t>get</a:t>
            </a:r>
            <a:r>
              <a:rPr lang="zh-CN" altLang="en-US"/>
              <a:t>方式提交的数据会在</a:t>
            </a:r>
            <a:r>
              <a:rPr lang="en-US" altLang="zh-CN"/>
              <a:t>url</a:t>
            </a:r>
            <a:r>
              <a:rPr lang="zh-CN" altLang="en-US"/>
              <a:t>中显示出来</a:t>
            </a:r>
            <a:r>
              <a:rPr lang="en-US" altLang="zh-CN"/>
              <a:t>.</a:t>
            </a:r>
            <a:endParaRPr lang="en-US" altLang="zh-CN"/>
          </a:p>
        </p:txBody>
      </p:sp>
      <p:sp>
        <p:nvSpPr>
          <p:cNvPr id="11" name=" 7"/>
          <p:cNvSpPr/>
          <p:nvPr/>
        </p:nvSpPr>
        <p:spPr>
          <a:xfrm flipH="1" flipV="1">
            <a:off x="3633470" y="4850130"/>
            <a:ext cx="3789045" cy="1289050"/>
          </a:xfrm>
          <a:prstGeom prst="wedgeEllipseCallout">
            <a:avLst>
              <a:gd name="adj1" fmla="val 48944"/>
              <a:gd name="adj2" fmla="val 11064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altLang="zh-CN" dirty="0">
              <a:solidFill>
                <a:srgbClr val="FFFFFF"/>
              </a:solidFill>
            </a:endParaRPr>
          </a:p>
        </p:txBody>
      </p:sp>
      <p:sp>
        <p:nvSpPr>
          <p:cNvPr id="12" name=" 7"/>
          <p:cNvSpPr/>
          <p:nvPr/>
        </p:nvSpPr>
        <p:spPr>
          <a:xfrm flipH="1" flipV="1">
            <a:off x="5466080" y="4850130"/>
            <a:ext cx="3789045" cy="1289050"/>
          </a:xfrm>
          <a:prstGeom prst="wedgeEllipseCallout">
            <a:avLst>
              <a:gd name="adj1" fmla="val -34431"/>
              <a:gd name="adj2" fmla="val 131034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altLang="zh-CN" dirty="0">
              <a:solidFill>
                <a:srgbClr val="FFFFFF"/>
              </a:solidFill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4802505" y="5105400"/>
            <a:ext cx="4080510" cy="9220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>
                <a:solidFill>
                  <a:schemeClr val="bg1"/>
                </a:solidFill>
              </a:rPr>
              <a:t>1.get</a:t>
            </a:r>
            <a:r>
              <a:rPr lang="zh-CN" altLang="en-US">
                <a:solidFill>
                  <a:schemeClr val="bg1"/>
                </a:solidFill>
              </a:rPr>
              <a:t>提交的参数会在</a:t>
            </a:r>
            <a:r>
              <a:rPr lang="en-US" altLang="zh-CN">
                <a:solidFill>
                  <a:schemeClr val="bg1"/>
                </a:solidFill>
              </a:rPr>
              <a:t>url</a:t>
            </a:r>
            <a:r>
              <a:rPr lang="zh-CN" altLang="en-US">
                <a:solidFill>
                  <a:schemeClr val="bg1"/>
                </a:solidFill>
              </a:rPr>
              <a:t>中显示</a:t>
            </a:r>
            <a:r>
              <a:rPr lang="en-US" altLang="zh-CN">
                <a:solidFill>
                  <a:schemeClr val="bg1"/>
                </a:solidFill>
              </a:rPr>
              <a:t>.</a:t>
            </a:r>
            <a:endParaRPr lang="zh-CN" altLang="en-US">
              <a:solidFill>
                <a:schemeClr val="bg1"/>
              </a:solidFill>
            </a:endParaRPr>
          </a:p>
          <a:p>
            <a:r>
              <a:rPr lang="en-US" altLang="zh-CN">
                <a:solidFill>
                  <a:schemeClr val="bg1"/>
                </a:solidFill>
              </a:rPr>
              <a:t>2.</a:t>
            </a:r>
            <a:r>
              <a:rPr lang="zh-CN" altLang="en-US">
                <a:solidFill>
                  <a:schemeClr val="bg1"/>
                </a:solidFill>
              </a:rPr>
              <a:t>可以通过</a:t>
            </a:r>
            <a:r>
              <a:rPr lang="en-US" altLang="zh-CN">
                <a:solidFill>
                  <a:schemeClr val="bg1"/>
                </a:solidFill>
              </a:rPr>
              <a:t>request.GET.get</a:t>
            </a:r>
            <a:r>
              <a:rPr lang="zh-CN" altLang="en-US">
                <a:solidFill>
                  <a:schemeClr val="bg1"/>
                </a:solidFill>
              </a:rPr>
              <a:t>的方法来获取</a:t>
            </a:r>
            <a:endParaRPr lang="zh-CN" altLang="en-US">
              <a:solidFill>
                <a:schemeClr val="bg1"/>
              </a:solidFill>
            </a:endParaRPr>
          </a:p>
          <a:p>
            <a:r>
              <a:rPr lang="zh-CN" altLang="en-US">
                <a:solidFill>
                  <a:schemeClr val="bg1"/>
                </a:solidFill>
              </a:rPr>
              <a:t>提交的参数</a:t>
            </a:r>
            <a:r>
              <a:rPr lang="en-US" altLang="zh-CN">
                <a:solidFill>
                  <a:schemeClr val="bg1"/>
                </a:solidFill>
              </a:rPr>
              <a:t>.</a:t>
            </a:r>
            <a:endParaRPr lang="en-US" altLang="zh-CN">
              <a:solidFill>
                <a:schemeClr val="bg1"/>
              </a:solidFill>
            </a:endParaRPr>
          </a:p>
        </p:txBody>
      </p:sp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ldLvl="0" animBg="1"/>
      <p:bldP spid="12" grpId="0" bldLvl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form</a:t>
            </a:r>
            <a:r>
              <a:rPr lang="zh-CN" altLang="en-US" dirty="0">
                <a:sym typeface="+mn-ea"/>
              </a:rPr>
              <a:t>表单使用</a:t>
            </a:r>
            <a:r>
              <a:rPr lang="en-US" altLang="zh-CN" dirty="0">
                <a:sym typeface="+mn-ea"/>
              </a:rPr>
              <a:t>post</a:t>
            </a:r>
            <a:r>
              <a:rPr lang="zh-CN" altLang="en-US" dirty="0">
                <a:sym typeface="+mn-ea"/>
              </a:rPr>
              <a:t>方式提交的例子</a:t>
            </a:r>
            <a:r>
              <a:rPr lang="en-US" altLang="zh-CN" dirty="0">
                <a:sym typeface="+mn-ea"/>
              </a:rPr>
              <a:t>:</a:t>
            </a:r>
            <a:endParaRPr lang="en-US" altLang="zh-CN" dirty="0"/>
          </a:p>
        </p:txBody>
      </p:sp>
      <p:sp>
        <p:nvSpPr>
          <p:cNvPr id="5" name="文本框 4"/>
          <p:cNvSpPr txBox="1"/>
          <p:nvPr/>
        </p:nvSpPr>
        <p:spPr>
          <a:xfrm>
            <a:off x="949325" y="1490345"/>
            <a:ext cx="5390515" cy="3683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zh-CN" altLang="en-US"/>
              <a:t>视图函数</a:t>
            </a:r>
            <a:r>
              <a:rPr lang="en-US" altLang="zh-CN"/>
              <a:t>.</a:t>
            </a:r>
            <a:endParaRPr lang="en-US" altLang="zh-CN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57975" y="1858645"/>
            <a:ext cx="5161915" cy="390525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6657340" y="1490345"/>
            <a:ext cx="5162550" cy="3683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en-US" altLang="zh-CN"/>
              <a:t>url</a:t>
            </a:r>
            <a:r>
              <a:rPr lang="zh-CN" altLang="en-US"/>
              <a:t>的配置</a:t>
            </a:r>
            <a:endParaRPr lang="zh-CN" altLang="en-US"/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57975" y="2981960"/>
            <a:ext cx="4533265" cy="186690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6657975" y="2613660"/>
            <a:ext cx="4590415" cy="3683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en-US" altLang="zh-CN"/>
              <a:t>post</a:t>
            </a:r>
            <a:r>
              <a:rPr lang="zh-CN" altLang="en-US"/>
              <a:t>方式提交的数据不会在</a:t>
            </a:r>
            <a:r>
              <a:rPr lang="en-US" altLang="zh-CN"/>
              <a:t>url</a:t>
            </a:r>
            <a:r>
              <a:rPr lang="zh-CN" altLang="en-US"/>
              <a:t>中显示</a:t>
            </a:r>
            <a:r>
              <a:rPr lang="en-US" altLang="zh-CN"/>
              <a:t>.</a:t>
            </a:r>
            <a:endParaRPr lang="en-US" altLang="zh-CN"/>
          </a:p>
        </p:txBody>
      </p:sp>
      <p:sp>
        <p:nvSpPr>
          <p:cNvPr id="11" name="剪去单角的矩形 10"/>
          <p:cNvSpPr/>
          <p:nvPr/>
        </p:nvSpPr>
        <p:spPr>
          <a:xfrm>
            <a:off x="949325" y="5036185"/>
            <a:ext cx="9008745" cy="1125220"/>
          </a:xfrm>
          <a:prstGeom prst="snip1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altLang="zh-CN"/>
              <a:t>1.post</a:t>
            </a:r>
            <a:r>
              <a:rPr lang="zh-CN" altLang="en-US"/>
              <a:t>的提交方式不会在</a:t>
            </a:r>
            <a:r>
              <a:rPr lang="en-US" altLang="zh-CN"/>
              <a:t>url</a:t>
            </a:r>
            <a:r>
              <a:rPr lang="zh-CN" altLang="en-US"/>
              <a:t>中显示参数</a:t>
            </a:r>
            <a:endParaRPr lang="zh-CN" altLang="en-US"/>
          </a:p>
          <a:p>
            <a:pPr algn="l"/>
            <a:r>
              <a:rPr lang="en-US" altLang="zh-CN"/>
              <a:t>2.</a:t>
            </a:r>
            <a:r>
              <a:rPr lang="zh-CN" altLang="en-US"/>
              <a:t>可以通过</a:t>
            </a:r>
            <a:r>
              <a:rPr lang="en-US" altLang="zh-CN"/>
              <a:t>request.POST.get</a:t>
            </a:r>
            <a:r>
              <a:rPr lang="zh-CN" altLang="en-US"/>
              <a:t>方式来获取提交的数据</a:t>
            </a:r>
            <a:endParaRPr lang="zh-CN" altLang="en-US"/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49325" y="1858645"/>
            <a:ext cx="5390515" cy="3046730"/>
          </a:xfrm>
          <a:prstGeom prst="rect">
            <a:avLst/>
          </a:prstGeom>
        </p:spPr>
      </p:pic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一键多值的</a:t>
            </a:r>
            <a:r>
              <a:rPr lang="en-US" altLang="zh-CN" dirty="0"/>
              <a:t>getlist</a:t>
            </a:r>
            <a:r>
              <a:rPr lang="zh-CN" altLang="en-US" dirty="0"/>
              <a:t>方法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3" name="文本框 2"/>
          <p:cNvSpPr txBox="1"/>
          <p:nvPr/>
        </p:nvSpPr>
        <p:spPr>
          <a:xfrm>
            <a:off x="580390" y="1419225"/>
            <a:ext cx="6029325" cy="286131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 altLang="en-US" b="1"/>
              <a:t>request对象的属性GET、POST都是QueryDict类型的对象</a:t>
            </a:r>
            <a:endParaRPr lang="zh-CN" altLang="en-US" b="1"/>
          </a:p>
          <a:p>
            <a:r>
              <a:rPr lang="zh-CN" altLang="en-US" b="1"/>
              <a:t>与python字典不同，QueryDict类型的对象用来处理同一个键带有多个值的情况</a:t>
            </a:r>
            <a:endParaRPr lang="zh-CN" altLang="en-US" b="1"/>
          </a:p>
          <a:p>
            <a:endParaRPr lang="zh-CN" altLang="en-US" b="1"/>
          </a:p>
          <a:p>
            <a:r>
              <a:rPr lang="zh-CN" altLang="en-US" b="1"/>
              <a:t>- 方法get()</a:t>
            </a:r>
            <a:r>
              <a:rPr lang="zh-CN" altLang="en-US"/>
              <a:t>：</a:t>
            </a:r>
            <a:endParaRPr lang="zh-CN" altLang="en-US"/>
          </a:p>
          <a:p>
            <a:r>
              <a:rPr lang="zh-CN" altLang="en-US"/>
              <a:t>根据键获取值</a:t>
            </a:r>
            <a:r>
              <a:rPr lang="en-US" altLang="zh-CN"/>
              <a:t>,</a:t>
            </a:r>
            <a:r>
              <a:rPr lang="zh-CN" altLang="en-US"/>
              <a:t>只能获取键的一个值</a:t>
            </a:r>
            <a:endParaRPr lang="zh-CN" altLang="en-US"/>
          </a:p>
          <a:p>
            <a:r>
              <a:rPr lang="zh-CN" altLang="en-US"/>
              <a:t>如果一个键同时拥有多个值，获取最后一值</a:t>
            </a:r>
            <a:endParaRPr lang="zh-CN" altLang="en-US"/>
          </a:p>
          <a:p>
            <a:r>
              <a:rPr lang="zh-CN" altLang="en-US" b="1"/>
              <a:t>- 方法getlist()</a:t>
            </a:r>
            <a:r>
              <a:rPr lang="zh-CN" altLang="en-US"/>
              <a:t>：</a:t>
            </a:r>
            <a:endParaRPr lang="zh-CN" altLang="en-US"/>
          </a:p>
          <a:p>
            <a:r>
              <a:rPr lang="zh-CN" altLang="en-US"/>
              <a:t>根据键获取值将键的值以列表返回</a:t>
            </a:r>
            <a:endParaRPr lang="zh-CN" altLang="en-US"/>
          </a:p>
          <a:p>
            <a:r>
              <a:rPr lang="zh-CN" altLang="en-US"/>
              <a:t>可以获取一个键的多个值</a:t>
            </a:r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0390" y="4637405"/>
            <a:ext cx="6028690" cy="75247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581025" y="4269105"/>
            <a:ext cx="6028690" cy="3683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zh-CN" altLang="en-US"/>
              <a:t>在模板中写上携带</a:t>
            </a:r>
            <a:r>
              <a:rPr lang="en-US" altLang="zh-CN"/>
              <a:t>get</a:t>
            </a:r>
            <a:r>
              <a:rPr lang="zh-CN" altLang="en-US"/>
              <a:t>参数的</a:t>
            </a:r>
            <a:r>
              <a:rPr lang="en-US" altLang="zh-CN"/>
              <a:t>url.</a:t>
            </a:r>
            <a:endParaRPr lang="en-US" altLang="zh-CN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24040" y="1875790"/>
            <a:ext cx="3952240" cy="351409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6924040" y="1507490"/>
            <a:ext cx="3951605" cy="3683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zh-CN" altLang="en-US"/>
              <a:t>视图中获取参数</a:t>
            </a:r>
            <a:r>
              <a:rPr lang="en-US" altLang="zh-CN"/>
              <a:t>.</a:t>
            </a:r>
            <a:endParaRPr lang="en-US" altLang="zh-CN"/>
          </a:p>
        </p:txBody>
      </p:sp>
    </p:spTree>
    <p:custDataLst>
      <p:tags r:id="rId8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0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01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102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03.xml><?xml version="1.0" encoding="utf-8"?>
<p:tagLst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104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105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106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107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08.xml><?xml version="1.0" encoding="utf-8"?>
<p:tagLst xmlns:p="http://schemas.openxmlformats.org/presentationml/2006/main">
  <p:tag name="THINKCELLSHAPEDONOTDELETE" val="pKOZHO13yzUCaepRpRzBw5w"/>
</p:tagLst>
</file>

<file path=ppt/tags/tag109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11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12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3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14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15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16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7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18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9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0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21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22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23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24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25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6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27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28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29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0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31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32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3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34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35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3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3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3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41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42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43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44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45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6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47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48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49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0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51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52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3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54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55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56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57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58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9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0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1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62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63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64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65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6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6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6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7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71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72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73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74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75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76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77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78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79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80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81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82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83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84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85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86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87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88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89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90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91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92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93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94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95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9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9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9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9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heme/theme1.xml><?xml version="1.0" encoding="utf-8"?>
<a:theme xmlns:a="http://schemas.openxmlformats.org/drawingml/2006/main" name="Office 主题">
  <a:themeElements>
    <a:clrScheme name="自定义 45">
      <a:dk1>
        <a:srgbClr val="3F3F3F"/>
      </a:dk1>
      <a:lt1>
        <a:srgbClr val="FFFFFF"/>
      </a:lt1>
      <a:dk2>
        <a:srgbClr val="44546A"/>
      </a:dk2>
      <a:lt2>
        <a:srgbClr val="E7E6E6"/>
      </a:lt2>
      <a:accent1>
        <a:srgbClr val="E76861"/>
      </a:accent1>
      <a:accent2>
        <a:srgbClr val="3F5361"/>
      </a:accent2>
      <a:accent3>
        <a:srgbClr val="5BA78C"/>
      </a:accent3>
      <a:accent4>
        <a:srgbClr val="E5AB74"/>
      </a:accent4>
      <a:accent5>
        <a:srgbClr val="3C8BA7"/>
      </a:accent5>
      <a:accent6>
        <a:srgbClr val="7FC481"/>
      </a:accent6>
      <a:hlink>
        <a:srgbClr val="85B5BC"/>
      </a:hlink>
      <a:folHlink>
        <a:srgbClr val="954F72"/>
      </a:folHlink>
    </a:clrScheme>
    <a:fontScheme name="自定义 10">
      <a:majorFont>
        <a:latin typeface="Calibri Light"/>
        <a:ea typeface="微软雅黑"/>
        <a:cs typeface=""/>
      </a:majorFont>
      <a:minorFont>
        <a:latin typeface="Calibri Light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426</Words>
  <Application>WPS 演示</Application>
  <PresentationFormat>宽屏</PresentationFormat>
  <Paragraphs>211</Paragraphs>
  <Slides>24</Slides>
  <Notes>24</Notes>
  <HiddenSlides>0</HiddenSlides>
  <MMClips>0</MMClips>
  <ScaleCrop>false</ScaleCrop>
  <HeadingPairs>
    <vt:vector size="6" baseType="variant">
      <vt:variant>
        <vt:lpstr>已用的字体</vt:lpstr>
      </vt:variant>
      <vt:variant>
        <vt:i4>15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4</vt:i4>
      </vt:variant>
    </vt:vector>
  </HeadingPairs>
  <TitlesOfParts>
    <vt:vector size="40" baseType="lpstr">
      <vt:lpstr>Arial</vt:lpstr>
      <vt:lpstr>宋体</vt:lpstr>
      <vt:lpstr>Wingdings</vt:lpstr>
      <vt:lpstr>微软雅黑</vt:lpstr>
      <vt:lpstr>Kozuka Gothic Pr6N B</vt:lpstr>
      <vt:lpstr>Calibri</vt:lpstr>
      <vt:lpstr>Arial Unicode MS</vt:lpstr>
      <vt:lpstr>Adobe Gothic Std B</vt:lpstr>
      <vt:lpstr>Calibri Light</vt:lpstr>
      <vt:lpstr>Arial Unicode MS</vt:lpstr>
      <vt:lpstr>Arial Narrow</vt:lpstr>
      <vt:lpstr>Calibri</vt:lpstr>
      <vt:lpstr>Narkisim</vt:lpstr>
      <vt:lpstr>Yu Gothic UI Semibold</vt:lpstr>
      <vt:lpstr>Segoe Print</vt:lpstr>
      <vt:lpstr>Office 主题</vt:lpstr>
      <vt:lpstr>Django框架</vt:lpstr>
      <vt:lpstr>知识回顾:</vt:lpstr>
      <vt:lpstr>PowerPoint 演示文稿</vt:lpstr>
      <vt:lpstr>视图函数接受到的request到底是个什么对象呢?</vt:lpstr>
      <vt:lpstr>HttpRequest对象:</vt:lpstr>
      <vt:lpstr>form标签中的GET和POST:</vt:lpstr>
      <vt:lpstr>form表单使用get方式提交的例子:</vt:lpstr>
      <vt:lpstr>form表单使用post方式提交的例子:</vt:lpstr>
      <vt:lpstr>一键多值的getlist方法:</vt:lpstr>
      <vt:lpstr>PowerPoint 演示文稿</vt:lpstr>
      <vt:lpstr>GET和POST请求方式总结:</vt:lpstr>
      <vt:lpstr>文件上传:</vt:lpstr>
      <vt:lpstr>文件上传form表单中:</vt:lpstr>
      <vt:lpstr>文件上传视图函数:</vt:lpstr>
      <vt:lpstr>PowerPoint 演示文稿</vt:lpstr>
      <vt:lpstr>PowerPoint 演示文稿</vt:lpstr>
      <vt:lpstr>HTTP协议:</vt:lpstr>
      <vt:lpstr>客户端和服务器都是怎么记录登录的状态的呢?</vt:lpstr>
      <vt:lpstr>浏览器中的----cookie:</vt:lpstr>
      <vt:lpstr>浏览器中的----cookie:</vt:lpstr>
      <vt:lpstr>服务器中设置cookie及获取cookie:</vt:lpstr>
      <vt:lpstr>虽然cookie可以保存状态 但注意不要存储敏感信息. 想要了解状态保持的另一种方式, 请关注明天的课程内容!!!!!</vt:lpstr>
      <vt:lpstr>作业: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3</dc:title>
  <dc:creator>Admin</dc:creator>
  <cp:lastModifiedBy>塔卡老师</cp:lastModifiedBy>
  <cp:revision>320</cp:revision>
  <dcterms:created xsi:type="dcterms:W3CDTF">2016-11-22T14:17:00Z</dcterms:created>
  <dcterms:modified xsi:type="dcterms:W3CDTF">2018-11-15T07:30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7469</vt:lpwstr>
  </property>
</Properties>
</file>